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8" r:id="rId1"/>
    <p:sldMasterId id="2147483717" r:id="rId2"/>
    <p:sldMasterId id="2147483743" r:id="rId3"/>
  </p:sldMasterIdLst>
  <p:notesMasterIdLst>
    <p:notesMasterId r:id="rId6"/>
  </p:notesMasterIdLst>
  <p:handoutMasterIdLst>
    <p:handoutMasterId r:id="rId7"/>
  </p:handoutMasterIdLst>
  <p:sldIdLst>
    <p:sldId id="256" r:id="rId4"/>
    <p:sldId id="257" r:id="rId5"/>
  </p:sldIdLst>
  <p:sldSz cx="12192000" cy="6858000"/>
  <p:notesSz cx="6858000" cy="9144000"/>
  <p:defaultTextStyle>
    <a:defPPr>
      <a:defRPr lang="en-US"/>
    </a:defPPr>
    <a:lvl1pPr marL="0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71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143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216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285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356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429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500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572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D5885"/>
    <a:srgbClr val="417C7B"/>
    <a:srgbClr val="5D426B"/>
    <a:srgbClr val="760102"/>
    <a:srgbClr val="404040"/>
    <a:srgbClr val="EAEAEA"/>
    <a:srgbClr val="2C4063"/>
    <a:srgbClr val="870101"/>
    <a:srgbClr val="3159A0"/>
    <a:srgbClr val="3F6F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6" autoAdjust="0"/>
    <p:restoredTop sz="96286" autoAdjust="0"/>
  </p:normalViewPr>
  <p:slideViewPr>
    <p:cSldViewPr snapToGrid="0" snapToObjects="1">
      <p:cViewPr varScale="1">
        <p:scale>
          <a:sx n="86" d="100"/>
          <a:sy n="86" d="100"/>
        </p:scale>
        <p:origin x="48" y="15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100" d="100"/>
          <a:sy n="100" d="100"/>
        </p:scale>
        <p:origin x="-2016" y="156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handoutMaster" Target="handoutMasters/handoutMaster1.xml"/><Relationship Id="rId12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2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atrick Jacolenne" userId="ede5065a-b54a-4371-9885-10fbd561b262" providerId="ADAL" clId="{D59A38F7-9CF7-4A2A-9984-3AB1313AF3BA}"/>
    <pc:docChg chg="modSld">
      <pc:chgData name="Patrick Jacolenne" userId="ede5065a-b54a-4371-9885-10fbd561b262" providerId="ADAL" clId="{D59A38F7-9CF7-4A2A-9984-3AB1313AF3BA}" dt="2023-08-22T06:54:57.908" v="3" actId="20577"/>
      <pc:docMkLst>
        <pc:docMk/>
      </pc:docMkLst>
      <pc:sldChg chg="modSp mod">
        <pc:chgData name="Patrick Jacolenne" userId="ede5065a-b54a-4371-9885-10fbd561b262" providerId="ADAL" clId="{D59A38F7-9CF7-4A2A-9984-3AB1313AF3BA}" dt="2023-08-22T06:54:57.908" v="3" actId="20577"/>
        <pc:sldMkLst>
          <pc:docMk/>
          <pc:sldMk cId="99373898" sldId="256"/>
        </pc:sldMkLst>
        <pc:spChg chg="mod">
          <ac:chgData name="Patrick Jacolenne" userId="ede5065a-b54a-4371-9885-10fbd561b262" providerId="ADAL" clId="{D59A38F7-9CF7-4A2A-9984-3AB1313AF3BA}" dt="2023-08-22T06:54:57.908" v="3" actId="20577"/>
          <ac:spMkLst>
            <pc:docMk/>
            <pc:sldMk cId="99373898" sldId="256"/>
            <ac:spMk id="16" creationId="{AEDC45BB-E363-21AD-DC7E-D1BEBC889CC4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16E113-E953-8C4D-999E-7707DCE412EF}" type="datetimeFigureOut">
              <a:rPr lang="en-US" smtClean="0"/>
              <a:t>8/22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D5F8D2-C06B-F142-958F-DB6F983CFB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436818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6152A0-843A-8846-BF23-ABE70335AF7C}" type="datetimeFigureOut">
              <a:rPr lang="en-US" smtClean="0"/>
              <a:t>8/2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9699D63-6D8C-4943-AD1E-44B6A6B3262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238441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71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143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216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285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356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429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500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572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4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4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4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4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4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4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4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4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4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4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4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F19DE8-5450-6CD1-5952-EA95221C6C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5DDA93D-11F0-A67D-7FC1-EFC83108C2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D71516-2FBB-0E28-F104-E730D6334B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2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569F4E-218B-A2F9-D5A2-08862017D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770D22-232B-9CAF-024E-FA3CA75E44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872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D4E52-5F46-6608-2268-E6FF051C94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F7772D7-7812-66EB-1E23-EF9804536D3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CE98D4A-AA98-8C4A-733F-6AC08CDD56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2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C3B591-34C0-B09B-9222-4A063E4FAF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A03F1F-212B-1B16-F692-11E3FB975E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76220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B5F486E-DB19-F76D-5226-7F6A21BF94C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A9CB29-60E5-F77B-5C00-CBCBB558FD6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91084C-D460-BAB9-1362-96E3A67FD3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2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0433A5-68A0-F52F-DE69-AAB1697C1F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77C1CA-80B9-4800-EB63-77C3E43C29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31232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ilent 16:9 Tit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B662F66-A4D2-472E-AB03-9F3EE519E8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1153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B662F66-A4D2-472E-AB03-9F3EE519E8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/>
          <p:cNvSpPr/>
          <p:nvPr userDrawn="1"/>
        </p:nvSpPr>
        <p:spPr>
          <a:xfrm>
            <a:off x="5483504" y="-1"/>
            <a:ext cx="292388" cy="687294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5" name="Rectangle 24"/>
          <p:cNvSpPr/>
          <p:nvPr userDrawn="1"/>
        </p:nvSpPr>
        <p:spPr>
          <a:xfrm>
            <a:off x="-1" y="-1"/>
            <a:ext cx="5483505" cy="68729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5775892" y="-1"/>
            <a:ext cx="626402" cy="6872941"/>
          </a:xfrm>
          <a:prstGeom prst="rect">
            <a:avLst/>
          </a:prstGeom>
          <a:solidFill>
            <a:srgbClr val="0042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6402294" y="-2"/>
            <a:ext cx="3661784" cy="6874984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76104" y="329302"/>
            <a:ext cx="4715611" cy="2066357"/>
          </a:xfrm>
        </p:spPr>
        <p:txBody>
          <a:bodyPr vert="horz" lIns="0" tIns="0" rIns="0" bIns="0" anchor="b" anchorCtr="0">
            <a:normAutofit/>
          </a:bodyPr>
          <a:lstStyle>
            <a:lvl1pPr algn="l" rtl="0">
              <a:defRPr sz="28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 bwMode="white">
          <a:xfrm>
            <a:off x="476104" y="4115770"/>
            <a:ext cx="4715611" cy="1137771"/>
          </a:xfrm>
        </p:spPr>
        <p:txBody>
          <a:bodyPr lIns="0" tIns="0" rIns="0" bIns="0" anchor="t" anchorCtr="0">
            <a:normAutofit/>
          </a:bodyPr>
          <a:lstStyle>
            <a:lvl1pPr marL="0" indent="0" algn="l" rtl="0">
              <a:spcBef>
                <a:spcPts val="300"/>
              </a:spcBef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295365"/>
            <a:ext cx="2560320" cy="457200"/>
          </a:xfrm>
        </p:spPr>
        <p:txBody>
          <a:bodyPr anchor="b"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6250" y="2612108"/>
            <a:ext cx="4715487" cy="811212"/>
          </a:xfrm>
        </p:spPr>
        <p:txBody>
          <a:bodyPr/>
          <a:lstStyle>
            <a:lvl1pPr rtl="0">
              <a:lnSpc>
                <a:spcPct val="90000"/>
              </a:lnSpc>
              <a:spcBef>
                <a:spcPts val="800"/>
              </a:spcBef>
              <a:defRPr baseline="0">
                <a:solidFill>
                  <a:schemeClr val="bg2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0" indent="0">
              <a:buNone/>
              <a:defRPr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2pPr>
            <a:lvl3pPr>
              <a:defRPr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3pPr>
            <a:lvl4pPr>
              <a:defRPr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4pPr>
            <a:lvl5pPr>
              <a:defRPr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0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grpSp>
        <p:nvGrpSpPr>
          <p:cNvPr id="5" name="Group 4"/>
          <p:cNvGrpSpPr/>
          <p:nvPr userDrawn="1"/>
        </p:nvGrpSpPr>
        <p:grpSpPr>
          <a:xfrm>
            <a:off x="10064080" y="-1"/>
            <a:ext cx="2136888" cy="6872941"/>
            <a:chOff x="10064080" y="-1"/>
            <a:chExt cx="2136888" cy="6872941"/>
          </a:xfrm>
        </p:grpSpPr>
        <p:sp>
          <p:nvSpPr>
            <p:cNvPr id="9" name="Rectangle 8"/>
            <p:cNvSpPr/>
            <p:nvPr userDrawn="1"/>
          </p:nvSpPr>
          <p:spPr>
            <a:xfrm>
              <a:off x="10064080" y="-1"/>
              <a:ext cx="2127920" cy="687294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dirty="0">
                <a:latin typeface="Arial" panose="020B0604020202020204" pitchFamily="34" charset="0"/>
              </a:endParaRPr>
            </a:p>
          </p:txBody>
        </p:sp>
        <p:pic>
          <p:nvPicPr>
            <p:cNvPr id="3" name="Picture 2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67544" y="283"/>
              <a:ext cx="2133424" cy="68574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622038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ilent 16:9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05AD731-36DA-4C9A-BA64-24DBA6F734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2360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05AD731-36DA-4C9A-BA64-24DBA6F734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/>
          <p:cNvSpPr/>
          <p:nvPr userDrawn="1"/>
        </p:nvSpPr>
        <p:spPr>
          <a:xfrm>
            <a:off x="-1" y="-1"/>
            <a:ext cx="7918825" cy="68729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7918824" y="-1"/>
            <a:ext cx="621169" cy="687294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8539992" y="-1"/>
            <a:ext cx="1524087" cy="687294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76103" y="667267"/>
            <a:ext cx="7143939" cy="1728392"/>
          </a:xfrm>
        </p:spPr>
        <p:txBody>
          <a:bodyPr vert="horz" lIns="0" tIns="0" rIns="0" bIns="0" anchor="b" anchorCtr="0">
            <a:normAutofit/>
          </a:bodyPr>
          <a:lstStyle>
            <a:lvl1pPr algn="l" rtl="0">
              <a:defRPr sz="28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476103" y="4115770"/>
            <a:ext cx="7143939" cy="1137771"/>
          </a:xfrm>
        </p:spPr>
        <p:txBody>
          <a:bodyPr lIns="0" tIns="0" rIns="0" bIns="0" anchor="t" anchorCtr="0">
            <a:normAutofit/>
          </a:bodyPr>
          <a:lstStyle>
            <a:lvl1pPr marL="0" indent="0" algn="l" rtl="0">
              <a:spcBef>
                <a:spcPts val="300"/>
              </a:spcBef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49377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476249" y="2612108"/>
            <a:ext cx="7143751" cy="811212"/>
          </a:xfrm>
        </p:spPr>
        <p:txBody>
          <a:bodyPr/>
          <a:lstStyle>
            <a:lvl1pPr rtl="0">
              <a:spcBef>
                <a:spcPts val="800"/>
              </a:spcBef>
              <a:defRPr>
                <a:solidFill>
                  <a:schemeClr val="bg2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0" indent="0">
              <a:buNone/>
              <a:defRPr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2pPr>
            <a:lvl3pPr>
              <a:defRPr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3pPr>
            <a:lvl4pPr>
              <a:defRPr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4pPr>
            <a:lvl5pPr>
              <a:defRPr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10064080" y="-1"/>
            <a:ext cx="2136888" cy="6872941"/>
            <a:chOff x="10064080" y="-1"/>
            <a:chExt cx="2136888" cy="6872941"/>
          </a:xfrm>
        </p:grpSpPr>
        <p:sp>
          <p:nvSpPr>
            <p:cNvPr id="13" name="Rectangle 12"/>
            <p:cNvSpPr/>
            <p:nvPr userDrawn="1"/>
          </p:nvSpPr>
          <p:spPr>
            <a:xfrm>
              <a:off x="10064080" y="-1"/>
              <a:ext cx="2127920" cy="687294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dirty="0">
                <a:latin typeface="Arial" panose="020B0604020202020204" pitchFamily="34" charset="0"/>
              </a:endParaRPr>
            </a:p>
          </p:txBody>
        </p:sp>
        <p:pic>
          <p:nvPicPr>
            <p:cNvPr id="9" name="Picture 8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67544" y="283"/>
              <a:ext cx="2133424" cy="68574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456382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249D25-7F33-499A-8909-D97EA673BD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7429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249D25-7F33-499A-8909-D97EA673BD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7"/>
            <a:ext cx="11198597" cy="926767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2919" y="1289304"/>
            <a:ext cx="11198597" cy="4672584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marL="182563" indent="-182563" rtl="0">
              <a:defRPr>
                <a:latin typeface="Arial" panose="020B0604020202020204" pitchFamily="34" charset="0"/>
              </a:defRPr>
            </a:lvl2pPr>
            <a:lvl3pPr marL="457200" indent="-209550" rtl="0">
              <a:defRPr>
                <a:latin typeface="Arial" panose="020B0604020202020204" pitchFamily="34" charset="0"/>
              </a:defRPr>
            </a:lvl3pPr>
            <a:lvl4pPr marL="630238" indent="-168275" rtl="0">
              <a:defRPr>
                <a:latin typeface="Arial" panose="020B0604020202020204" pitchFamily="34" charset="0"/>
              </a:defRPr>
            </a:lvl4pPr>
            <a:lvl5pPr marL="854075" indent="-182563" rtl="0"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6700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530352" cy="118872"/>
          </a:xfrm>
        </p:spPr>
        <p:txBody>
          <a:bodyPr/>
          <a:lstStyle>
            <a:lvl1pPr rtl="0">
              <a:defRPr sz="800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59612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Content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EB7E4BE-1077-4F8B-8A0C-464C4F4A10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05209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EB7E4BE-1077-4F8B-8A0C-464C4F4A10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2920" y="1289304"/>
            <a:ext cx="11198597" cy="4672584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marL="182880" indent="-182880" rtl="0">
              <a:defRPr>
                <a:latin typeface="Arial" panose="020B0604020202020204" pitchFamily="34" charset="0"/>
              </a:defRPr>
            </a:lvl2pPr>
            <a:lvl3pPr marL="457200" indent="-209550" rtl="0">
              <a:defRPr>
                <a:latin typeface="Arial" panose="020B0604020202020204" pitchFamily="34" charset="0"/>
              </a:defRPr>
            </a:lvl3pPr>
            <a:lvl4pPr marL="627063" indent="-166688" rtl="0">
              <a:defRPr>
                <a:latin typeface="Arial" panose="020B0604020202020204" pitchFamily="34" charset="0"/>
              </a:defRPr>
            </a:lvl4pPr>
            <a:lvl5pPr marL="857250" indent="-182563" rtl="0"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6700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530352" cy="118872"/>
          </a:xfrm>
        </p:spPr>
        <p:txBody>
          <a:bodyPr/>
          <a:lstStyle>
            <a:lvl1pPr rtl="0">
              <a:defRPr sz="800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59" name="Text Placeholder 58"/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733133"/>
            <a:ext cx="11198284" cy="390099"/>
          </a:xfrm>
        </p:spPr>
        <p:txBody>
          <a:bodyPr/>
          <a:lstStyle>
            <a:lvl1pPr rtl="0">
              <a:defRPr sz="240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marL="0" indent="0">
              <a:buNone/>
              <a:defRPr>
                <a:solidFill>
                  <a:schemeClr val="accent1"/>
                </a:solidFill>
                <a:latin typeface="Roboto" pitchFamily="2" charset="0"/>
                <a:ea typeface="Roboto" pitchFamily="2" charset="0"/>
              </a:defRPr>
            </a:lvl2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8"/>
            <a:ext cx="11198597" cy="484632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25760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EB8496-D55C-46BE-9B85-C9C1D5DC6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3653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EB8496-D55C-46BE-9B85-C9C1D5DC6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6700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530352" cy="118872"/>
          </a:xfrm>
        </p:spPr>
        <p:txBody>
          <a:bodyPr/>
          <a:lstStyle>
            <a:lvl1pPr rtl="0">
              <a:defRPr sz="800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8"/>
            <a:ext cx="11198597" cy="923544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751849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Title Sub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F86814A-275F-43D3-A7B9-02C9437DC3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0050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F86814A-275F-43D3-A7B9-02C9437DC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6700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530352" cy="118872"/>
          </a:xfrm>
        </p:spPr>
        <p:txBody>
          <a:bodyPr/>
          <a:lstStyle>
            <a:lvl1pPr rtl="0">
              <a:defRPr sz="800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59" name="Text Placeholder 58"/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722247"/>
            <a:ext cx="11198284" cy="390099"/>
          </a:xfrm>
        </p:spPr>
        <p:txBody>
          <a:bodyPr/>
          <a:lstStyle>
            <a:lvl1pPr rtl="0">
              <a:defRPr sz="240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rtl="0">
              <a:defRPr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2pPr>
          </a:lstStyle>
          <a:p>
            <a:pPr lvl="0"/>
            <a:r>
              <a:rPr lang="en-US"/>
              <a:t>Subhead goes here</a:t>
            </a:r>
          </a:p>
          <a:p>
            <a:pPr lvl="1"/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8"/>
            <a:ext cx="11198597" cy="484632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95153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E8BB4E7-2998-4187-B675-6E0E0873E5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3392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E8BB4E7-2998-4187-B675-6E0E0873E5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6700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530352" cy="118872"/>
          </a:xfrm>
        </p:spPr>
        <p:txBody>
          <a:bodyPr/>
          <a:lstStyle>
            <a:lvl1pPr rtl="0">
              <a:defRPr sz="800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2858611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ilent 16:9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5183C2C-F97C-4C99-A3CE-A4022D1A49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9165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5183C2C-F97C-4C99-A3CE-A4022D1A49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/>
        </p:nvSpPr>
        <p:spPr>
          <a:xfrm>
            <a:off x="3658171" y="2752035"/>
            <a:ext cx="304797" cy="3733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862820" y="2752035"/>
            <a:ext cx="7024380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-2" y="2752035"/>
            <a:ext cx="3663924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5098" y="386498"/>
            <a:ext cx="11198901" cy="1362075"/>
          </a:xfrm>
        </p:spPr>
        <p:txBody>
          <a:bodyPr vert="horz" anchor="b" anchorCtr="0">
            <a:noAutofit/>
          </a:bodyPr>
          <a:lstStyle>
            <a:lvl1pPr rtl="0">
              <a:defRPr sz="2800" b="0" cap="none" baseline="0">
                <a:solidFill>
                  <a:schemeClr val="accent1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5098" y="1748574"/>
            <a:ext cx="11198901" cy="861496"/>
          </a:xfrm>
        </p:spPr>
        <p:txBody>
          <a:bodyPr>
            <a:normAutofit/>
          </a:bodyPr>
          <a:lstStyle>
            <a:lvl1pPr marL="0" indent="0" rtl="0">
              <a:buNone/>
              <a:defRPr sz="2600">
                <a:solidFill>
                  <a:schemeClr val="tx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5212080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9" name="Rectangle 18"/>
          <p:cNvSpPr/>
          <p:nvPr/>
        </p:nvSpPr>
        <p:spPr>
          <a:xfrm>
            <a:off x="11887199" y="2752035"/>
            <a:ext cx="304799" cy="3733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3962969" y="2752035"/>
            <a:ext cx="899851" cy="37334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0" name="AutoShape 3"/>
          <p:cNvSpPr>
            <a:spLocks noChangeAspect="1" noChangeArrowheads="1" noTextEdit="1"/>
          </p:cNvSpPr>
          <p:nvPr/>
        </p:nvSpPr>
        <p:spPr bwMode="auto">
          <a:xfrm>
            <a:off x="7498971" y="532271"/>
            <a:ext cx="2171700" cy="909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11887199" y="2752035"/>
            <a:ext cx="304799" cy="3733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6494482"/>
            <a:ext cx="12304527" cy="374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35032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BF1A84-66D0-9E39-E935-E155B0ADD8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DFA7F3-75CE-6603-9DF0-682664F541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0FBE14-5022-2C46-0AC1-61A23B9828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2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FD42AC-9129-884B-0361-69AA5768B6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975221-5335-D866-87FC-E268F5D66A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53431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ilent 16:9 Divider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8C9CFF8-B535-4E4A-8271-8756C857E8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3436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8C9CFF8-B535-4E4A-8271-8756C857E8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/>
          <p:cNvSpPr/>
          <p:nvPr/>
        </p:nvSpPr>
        <p:spPr>
          <a:xfrm>
            <a:off x="3658171" y="2752035"/>
            <a:ext cx="304797" cy="3733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4862819" y="2752035"/>
            <a:ext cx="7024379" cy="3733460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1" name="Rectangle 20"/>
          <p:cNvSpPr/>
          <p:nvPr/>
        </p:nvSpPr>
        <p:spPr>
          <a:xfrm>
            <a:off x="-2" y="2752035"/>
            <a:ext cx="3663924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1887199" y="2752035"/>
            <a:ext cx="304799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962969" y="2752035"/>
            <a:ext cx="899851" cy="37334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85098" y="386498"/>
            <a:ext cx="11198901" cy="1362075"/>
          </a:xfrm>
        </p:spPr>
        <p:txBody>
          <a:bodyPr vert="horz" anchor="b" anchorCtr="0">
            <a:noAutofit/>
          </a:bodyPr>
          <a:lstStyle>
            <a:lvl1pPr rtl="0">
              <a:defRPr sz="2800" b="0" cap="none" baseline="0">
                <a:solidFill>
                  <a:schemeClr val="accent1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485098" y="1748573"/>
            <a:ext cx="11198901" cy="861496"/>
          </a:xfrm>
        </p:spPr>
        <p:txBody>
          <a:bodyPr>
            <a:normAutofit/>
          </a:bodyPr>
          <a:lstStyle>
            <a:lvl1pPr marL="0" indent="0" rtl="0">
              <a:buNone/>
              <a:defRPr sz="2600">
                <a:solidFill>
                  <a:schemeClr val="tx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5212080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6494483"/>
            <a:ext cx="12190476" cy="37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6729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ilent 16:9 Divider 2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B197A7C-4552-47A7-817E-BCDF278AB1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6126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B197A7C-4552-47A7-817E-BCDF278AB1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-1" y="2752035"/>
            <a:ext cx="3663924" cy="3733460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5098" y="386498"/>
            <a:ext cx="11198901" cy="1362075"/>
          </a:xfrm>
        </p:spPr>
        <p:txBody>
          <a:bodyPr vert="horz" anchor="b" anchorCtr="0">
            <a:noAutofit/>
          </a:bodyPr>
          <a:lstStyle>
            <a:lvl1pPr rtl="0">
              <a:defRPr sz="2800" b="0" cap="none" baseline="0">
                <a:solidFill>
                  <a:schemeClr val="accent1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5098" y="1748573"/>
            <a:ext cx="11198901" cy="861496"/>
          </a:xfrm>
        </p:spPr>
        <p:txBody>
          <a:bodyPr>
            <a:normAutofit/>
          </a:bodyPr>
          <a:lstStyle>
            <a:lvl1pPr marL="0" indent="0" rtl="0">
              <a:buNone/>
              <a:defRPr sz="2600">
                <a:solidFill>
                  <a:schemeClr val="tx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5212080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4862819" y="2752035"/>
            <a:ext cx="7024379" cy="3733460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4" name="Rectangle 23"/>
          <p:cNvSpPr/>
          <p:nvPr/>
        </p:nvSpPr>
        <p:spPr>
          <a:xfrm>
            <a:off x="11887199" y="2752035"/>
            <a:ext cx="304799" cy="3733460"/>
          </a:xfrm>
          <a:prstGeom prst="rect">
            <a:avLst/>
          </a:prstGeom>
          <a:solidFill>
            <a:srgbClr val="0085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962969" y="2752035"/>
            <a:ext cx="899851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3658171" y="2752035"/>
            <a:ext cx="304797" cy="3733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6494483"/>
            <a:ext cx="12190476" cy="37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68548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ilent 16:9 Divider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8AE77A2-AAB6-4BC0-8A34-B5FCAA2969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8257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8AE77A2-AAB6-4BC0-8A34-B5FCAA2969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/>
        </p:nvSpPr>
        <p:spPr>
          <a:xfrm>
            <a:off x="8540409" y="2752035"/>
            <a:ext cx="603503" cy="3733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0668000" y="2752035"/>
            <a:ext cx="1524000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00347" y="2752035"/>
            <a:ext cx="8240061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5098" y="386498"/>
            <a:ext cx="11198901" cy="1362075"/>
          </a:xfrm>
        </p:spPr>
        <p:txBody>
          <a:bodyPr vert="horz" anchor="b" anchorCtr="0">
            <a:noAutofit/>
          </a:bodyPr>
          <a:lstStyle>
            <a:lvl1pPr rtl="0">
              <a:defRPr sz="2800" b="0" cap="none" baseline="0">
                <a:solidFill>
                  <a:schemeClr val="accent1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5098" y="1748574"/>
            <a:ext cx="11198901" cy="861496"/>
          </a:xfrm>
        </p:spPr>
        <p:txBody>
          <a:bodyPr>
            <a:normAutofit/>
          </a:bodyPr>
          <a:lstStyle>
            <a:lvl1pPr marL="0" indent="0" rtl="0">
              <a:buNone/>
              <a:defRPr sz="2600">
                <a:solidFill>
                  <a:schemeClr val="tx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5212080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20" name="Rectangle 19"/>
          <p:cNvSpPr/>
          <p:nvPr/>
        </p:nvSpPr>
        <p:spPr>
          <a:xfrm>
            <a:off x="9143913" y="2752035"/>
            <a:ext cx="1524087" cy="37334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-2" y="2752035"/>
            <a:ext cx="300349" cy="3733460"/>
          </a:xfrm>
          <a:prstGeom prst="rect">
            <a:avLst/>
          </a:prstGeom>
          <a:solidFill>
            <a:srgbClr val="00A9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6494483"/>
            <a:ext cx="12190476" cy="37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01305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ilent 16:9 Divider Al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9EDC6F-D2D7-464F-9A3C-8238CDD481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9457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9EDC6F-D2D7-464F-9A3C-8238CDD481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/>
          <p:nvPr/>
        </p:nvSpPr>
        <p:spPr>
          <a:xfrm>
            <a:off x="8540409" y="2752035"/>
            <a:ext cx="603503" cy="3733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00347" y="2752035"/>
            <a:ext cx="8240061" cy="3733460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85098" y="386498"/>
            <a:ext cx="11198901" cy="1362075"/>
          </a:xfrm>
        </p:spPr>
        <p:txBody>
          <a:bodyPr vert="horz" anchor="b" anchorCtr="0">
            <a:noAutofit/>
          </a:bodyPr>
          <a:lstStyle>
            <a:lvl1pPr rtl="0">
              <a:defRPr sz="2800" b="0" cap="none" baseline="0">
                <a:solidFill>
                  <a:schemeClr val="accent1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"/>
          </p:nvPr>
        </p:nvSpPr>
        <p:spPr>
          <a:xfrm>
            <a:off x="485098" y="1748574"/>
            <a:ext cx="11198901" cy="861496"/>
          </a:xfrm>
        </p:spPr>
        <p:txBody>
          <a:bodyPr>
            <a:normAutofit/>
          </a:bodyPr>
          <a:lstStyle>
            <a:lvl1pPr marL="0" indent="0" rtl="0">
              <a:buNone/>
              <a:defRPr sz="2600">
                <a:solidFill>
                  <a:schemeClr val="tx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5212080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23" name="Rectangle 22"/>
          <p:cNvSpPr/>
          <p:nvPr/>
        </p:nvSpPr>
        <p:spPr>
          <a:xfrm>
            <a:off x="10668000" y="2752035"/>
            <a:ext cx="1524000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9143913" y="2752035"/>
            <a:ext cx="1524087" cy="37334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-2" y="2752035"/>
            <a:ext cx="300349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6494483"/>
            <a:ext cx="12190476" cy="37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17029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2-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6862E82-2BA4-4C5C-8A92-DD5BF48823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8692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6862E82-2BA4-4C5C-8A92-DD5BF48823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2920" y="1287522"/>
            <a:ext cx="5493389" cy="4887306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marL="457200" indent="-230188"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9861" y="1287522"/>
            <a:ext cx="5491655" cy="4887306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7"/>
            <a:ext cx="11198597" cy="926767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383774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ilent 16:9 2-Col Lef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6862E82-2BA4-4C5C-8A92-DD5BF48823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8692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6862E82-2BA4-4C5C-8A92-DD5BF48823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2920" y="1287522"/>
            <a:ext cx="5493389" cy="4887306"/>
          </a:xfrm>
        </p:spPr>
        <p:txBody>
          <a:bodyPr>
            <a:noAutofit/>
          </a:bodyPr>
          <a:lstStyle>
            <a:lvl1pPr rtl="0">
              <a:defRPr sz="1400">
                <a:latin typeface="Arial" panose="020B0604020202020204" pitchFamily="34" charset="0"/>
              </a:defRPr>
            </a:lvl1pPr>
            <a:lvl2pPr marL="458788" indent="-225425" rtl="0">
              <a:buFont typeface="System Font Regular"/>
              <a:buChar char="–"/>
              <a:tabLst/>
              <a:defRPr sz="1200">
                <a:latin typeface="Arial" panose="020B0604020202020204" pitchFamily="34" charset="0"/>
              </a:defRPr>
            </a:lvl2pPr>
            <a:lvl3pPr marL="635000" indent="-176213" rtl="0">
              <a:buFont typeface="Arial" panose="020B0604020202020204" pitchFamily="34" charset="0"/>
              <a:buChar char="•"/>
              <a:tabLst/>
              <a:defRPr sz="1200">
                <a:latin typeface="Arial" panose="020B0604020202020204" pitchFamily="34" charset="0"/>
              </a:defRPr>
            </a:lvl3pPr>
            <a:lvl4pPr marL="858838" indent="-166688" rtl="0">
              <a:buFont typeface="System Font Regular"/>
              <a:buChar char="–"/>
              <a:tabLst/>
              <a:defRPr sz="1200">
                <a:latin typeface="Arial" panose="020B0604020202020204" pitchFamily="34" charset="0"/>
              </a:defRPr>
            </a:lvl4pPr>
            <a:lvl5pPr rtl="0">
              <a:defRPr sz="110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7"/>
            <a:ext cx="11198597" cy="926767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693080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2-Col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4BB4876-1A88-4F80-A769-86A0F4A251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7108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4BB4876-1A88-4F80-A769-86A0F4A251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2920" y="1287522"/>
            <a:ext cx="5493389" cy="4887306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marL="457200" indent="-230188"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9861" y="1287522"/>
            <a:ext cx="5491655" cy="4887306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7"/>
            <a:ext cx="11198597" cy="484632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58"/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733133"/>
            <a:ext cx="11198284" cy="390099"/>
          </a:xfrm>
        </p:spPr>
        <p:txBody>
          <a:bodyPr/>
          <a:lstStyle>
            <a:lvl1pPr rtl="0">
              <a:defRPr sz="240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marL="0" indent="0">
              <a:buNone/>
              <a:defRPr>
                <a:solidFill>
                  <a:schemeClr val="accent1"/>
                </a:solidFill>
                <a:latin typeface="Roboto" pitchFamily="2" charset="0"/>
                <a:ea typeface="Roboto" pitchFamily="2" charset="0"/>
              </a:defRPr>
            </a:lvl2pPr>
          </a:lstStyle>
          <a:p>
            <a:pPr lvl="0"/>
            <a:r>
              <a:rPr lang="en-US"/>
              <a:t>Subhead goes here</a:t>
            </a:r>
          </a:p>
        </p:txBody>
      </p:sp>
    </p:spTree>
    <p:extLst>
      <p:ext uri="{BB962C8B-B14F-4D97-AF65-F5344CB8AC3E}">
        <p14:creationId xmlns:p14="http://schemas.microsoft.com/office/powerpoint/2010/main" val="12228858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2-Col +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F76DA3-0AB6-425A-9A4A-DE63CB1CA2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438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F76DA3-0AB6-425A-9A4A-DE63CB1CA2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2920" y="1284188"/>
            <a:ext cx="5495544" cy="357695"/>
          </a:xfrm>
        </p:spPr>
        <p:txBody>
          <a:bodyPr anchor="ctr">
            <a:noAutofit/>
          </a:bodyPr>
          <a:lstStyle>
            <a:lvl1pPr marL="0" indent="0" rtl="0">
              <a:buNone/>
              <a:defRPr sz="2200" b="0">
                <a:solidFill>
                  <a:schemeClr val="accent4"/>
                </a:solidFill>
                <a:latin typeface="Arial" panose="020B0604020202020204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09862" y="1284188"/>
            <a:ext cx="5491654" cy="357695"/>
          </a:xfrm>
        </p:spPr>
        <p:txBody>
          <a:bodyPr anchor="ctr">
            <a:noAutofit/>
          </a:bodyPr>
          <a:lstStyle>
            <a:lvl1pPr marL="0" indent="0" rtl="0">
              <a:buNone/>
              <a:defRPr sz="2200" b="0">
                <a:solidFill>
                  <a:schemeClr val="accent4"/>
                </a:solidFill>
                <a:latin typeface="Arial" panose="020B0604020202020204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3"/>
          </p:nvPr>
        </p:nvSpPr>
        <p:spPr>
          <a:xfrm>
            <a:off x="502920" y="1751724"/>
            <a:ext cx="5493389" cy="4423103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marL="457200" indent="-230188"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14"/>
          </p:nvPr>
        </p:nvSpPr>
        <p:spPr>
          <a:xfrm>
            <a:off x="6209861" y="1751724"/>
            <a:ext cx="5491655" cy="4423103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7"/>
            <a:ext cx="11198597" cy="926767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6923556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2-Col Sub +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49B0474-A1EE-4F52-A330-F6CCF229A6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4641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49B0474-A1EE-4F52-A330-F6CCF229A6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2920" y="1284188"/>
            <a:ext cx="5495544" cy="357695"/>
          </a:xfrm>
        </p:spPr>
        <p:txBody>
          <a:bodyPr anchor="ctr">
            <a:noAutofit/>
          </a:bodyPr>
          <a:lstStyle>
            <a:lvl1pPr marL="0" indent="0" rtl="0">
              <a:buNone/>
              <a:defRPr sz="2200" b="0">
                <a:solidFill>
                  <a:schemeClr val="accent4"/>
                </a:solidFill>
                <a:latin typeface="Arial" panose="020B0604020202020204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09862" y="1284188"/>
            <a:ext cx="5491654" cy="357695"/>
          </a:xfrm>
        </p:spPr>
        <p:txBody>
          <a:bodyPr anchor="ctr">
            <a:noAutofit/>
          </a:bodyPr>
          <a:lstStyle>
            <a:lvl1pPr marL="0" indent="0" rtl="0">
              <a:buNone/>
              <a:defRPr sz="2200" b="0">
                <a:solidFill>
                  <a:schemeClr val="accent4"/>
                </a:solidFill>
                <a:latin typeface="Arial" panose="020B0604020202020204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3"/>
          </p:nvPr>
        </p:nvSpPr>
        <p:spPr>
          <a:xfrm>
            <a:off x="502920" y="1751724"/>
            <a:ext cx="5493389" cy="4423103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marL="457200" indent="-230188"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14"/>
          </p:nvPr>
        </p:nvSpPr>
        <p:spPr>
          <a:xfrm>
            <a:off x="6209861" y="1751724"/>
            <a:ext cx="5491655" cy="4423103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7"/>
            <a:ext cx="11198597" cy="484632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58"/>
          <p:cNvSpPr>
            <a:spLocks noGrp="1"/>
          </p:cNvSpPr>
          <p:nvPr>
            <p:ph type="body" sz="quarter" idx="15" hasCustomPrompt="1"/>
          </p:nvPr>
        </p:nvSpPr>
        <p:spPr>
          <a:xfrm>
            <a:off x="503238" y="733133"/>
            <a:ext cx="11198284" cy="390099"/>
          </a:xfrm>
        </p:spPr>
        <p:txBody>
          <a:bodyPr/>
          <a:lstStyle>
            <a:lvl1pPr rtl="0">
              <a:defRPr sz="240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marL="0" indent="0">
              <a:buNone/>
              <a:defRPr>
                <a:solidFill>
                  <a:schemeClr val="accent1"/>
                </a:solidFill>
                <a:latin typeface="Roboto" pitchFamily="2" charset="0"/>
                <a:ea typeface="Roboto" pitchFamily="2" charset="0"/>
              </a:defRPr>
            </a:lvl2pPr>
          </a:lstStyle>
          <a:p>
            <a:pPr lvl="0"/>
            <a:r>
              <a:rPr lang="en-US"/>
              <a:t>Subhead goes here</a:t>
            </a:r>
          </a:p>
        </p:txBody>
      </p:sp>
    </p:spTree>
    <p:extLst>
      <p:ext uri="{BB962C8B-B14F-4D97-AF65-F5344CB8AC3E}">
        <p14:creationId xmlns:p14="http://schemas.microsoft.com/office/powerpoint/2010/main" val="35068669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2F4A768-9BB6-4607-9F09-B9FD515F2C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9140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2F4A768-9BB6-4607-9F09-B9FD515F2C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8854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438912" cy="118872"/>
          </a:xfrm>
        </p:spPr>
        <p:txBody>
          <a:bodyPr/>
          <a:lstStyle>
            <a:lvl1pPr rtl="0">
              <a:defRPr sz="800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3989507" y="1287522"/>
            <a:ext cx="7712015" cy="4887306"/>
          </a:xfrm>
          <a:solidFill>
            <a:schemeClr val="bg2">
              <a:lumMod val="95000"/>
            </a:schemeClr>
          </a:solidFill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ext Placeholder 58"/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722247"/>
            <a:ext cx="11198284" cy="390099"/>
          </a:xfrm>
        </p:spPr>
        <p:txBody>
          <a:bodyPr/>
          <a:lstStyle>
            <a:lvl1pPr rtl="0">
              <a:defRPr sz="240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rtl="0">
              <a:defRPr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2pPr>
          </a:lstStyle>
          <a:p>
            <a:pPr lvl="0"/>
            <a:r>
              <a:rPr lang="en-US"/>
              <a:t>Subhead goes here</a:t>
            </a:r>
          </a:p>
          <a:p>
            <a:pPr lvl="1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8"/>
            <a:ext cx="11198597" cy="484632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"/>
          </p:nvPr>
        </p:nvSpPr>
        <p:spPr>
          <a:xfrm>
            <a:off x="502920" y="1287522"/>
            <a:ext cx="3342005" cy="4887306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marL="457200" indent="-230188"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889108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E6D73F-228F-63D2-5E04-5A1B8BE87B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3C8DC4-423A-CE74-299B-A291E5D521A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3F2D40-3EF4-E681-7C60-4BA55ADCC0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2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64D29-5A06-8FC9-8745-E439EF9AC5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7F8701-F793-35A5-0AF1-9CB3F0028D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354609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D5D496C-CE71-4A19-828B-E3D8B76A82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259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D5D496C-CE71-4A19-828B-E3D8B76A82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264" y="5241390"/>
            <a:ext cx="11147360" cy="1159410"/>
          </a:xfrm>
        </p:spPr>
        <p:txBody>
          <a:bodyPr/>
          <a:lstStyle>
            <a:lvl1pPr rtl="0">
              <a:defRPr sz="1900">
                <a:latin typeface="Arial" panose="020B0604020202020204" pitchFamily="34" charset="0"/>
              </a:defRPr>
            </a:lvl1pPr>
            <a:lvl2pPr marL="0" indent="0" rtl="0">
              <a:buNone/>
              <a:defRPr sz="1500">
                <a:latin typeface="Arial" panose="020B0604020202020204" pitchFamily="34" charset="0"/>
              </a:defRPr>
            </a:lvl2pPr>
            <a:lvl3pPr marL="384048" indent="-182880">
              <a:defRPr sz="1500">
                <a:latin typeface="+mn-lt"/>
              </a:defRPr>
            </a:lvl3pPr>
            <a:lvl4pPr marL="548640" indent="-182880">
              <a:defRPr sz="1500">
                <a:latin typeface="+mn-lt"/>
              </a:defRPr>
            </a:lvl4pPr>
            <a:lvl5pPr marL="731520" indent="-182880">
              <a:defRPr sz="13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6700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438912" cy="118872"/>
          </a:xfrm>
        </p:spPr>
        <p:txBody>
          <a:bodyPr/>
          <a:lstStyle>
            <a:lvl1pPr rtl="0">
              <a:defRPr sz="800" b="1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502919" y="1322552"/>
            <a:ext cx="11201400" cy="3824542"/>
          </a:xfrm>
          <a:solidFill>
            <a:schemeClr val="bg2">
              <a:lumMod val="95000"/>
            </a:schemeClr>
          </a:solidFill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ext Placeholder 58"/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722247"/>
            <a:ext cx="11198284" cy="390099"/>
          </a:xfrm>
        </p:spPr>
        <p:txBody>
          <a:bodyPr/>
          <a:lstStyle>
            <a:lvl1pPr rtl="0">
              <a:defRPr sz="240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rtl="0">
              <a:defRPr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2pPr>
          </a:lstStyle>
          <a:p>
            <a:pPr lvl="0"/>
            <a:r>
              <a:rPr lang="en-US"/>
              <a:t>Subhead goes here</a:t>
            </a:r>
          </a:p>
          <a:p>
            <a:pPr lvl="1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8"/>
            <a:ext cx="11198597" cy="484632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222053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844D0F-A20A-402C-8A22-E11723AA48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2214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844D0F-A20A-402C-8A22-E11723AA48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4" y="1368725"/>
            <a:ext cx="12191936" cy="5114351"/>
          </a:xfrm>
          <a:solidFill>
            <a:schemeClr val="bg2">
              <a:lumMod val="95000"/>
            </a:schemeClr>
          </a:solidFill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6700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438912" cy="118872"/>
          </a:xfrm>
        </p:spPr>
        <p:txBody>
          <a:bodyPr/>
          <a:lstStyle>
            <a:lvl1pPr rtl="0">
              <a:defRPr sz="800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ext Placeholder 58"/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722247"/>
            <a:ext cx="11198284" cy="390099"/>
          </a:xfrm>
        </p:spPr>
        <p:txBody>
          <a:bodyPr/>
          <a:lstStyle>
            <a:lvl1pPr rtl="0">
              <a:defRPr sz="240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rtl="0">
              <a:defRPr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2pPr>
          </a:lstStyle>
          <a:p>
            <a:pPr lvl="0"/>
            <a:r>
              <a:rPr lang="en-US"/>
              <a:t>Subhead goes here</a:t>
            </a:r>
          </a:p>
          <a:p>
            <a:pPr lvl="1"/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8"/>
            <a:ext cx="11198597" cy="484632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009882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ilent 16:9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8CAA08C-BA54-4399-867D-3CBCB5BB63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891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8CAA08C-BA54-4399-867D-3CBCB5BB63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/>
          <p:cNvSpPr/>
          <p:nvPr userDrawn="1"/>
        </p:nvSpPr>
        <p:spPr>
          <a:xfrm>
            <a:off x="7918824" y="-1"/>
            <a:ext cx="621169" cy="687294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-1" y="-1"/>
            <a:ext cx="7918825" cy="68729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2000" dirty="0">
              <a:latin typeface="Arial" panose="020B0604020202020204" pitchFamily="34" charset="0"/>
            </a:endParaRPr>
          </a:p>
        </p:txBody>
      </p:sp>
      <p:sp>
        <p:nvSpPr>
          <p:cNvPr id="31" name="Rectangle 30"/>
          <p:cNvSpPr/>
          <p:nvPr userDrawn="1"/>
        </p:nvSpPr>
        <p:spPr>
          <a:xfrm>
            <a:off x="10064080" y="-1"/>
            <a:ext cx="2127920" cy="68729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2" name="Rectangle 31"/>
          <p:cNvSpPr/>
          <p:nvPr userDrawn="1"/>
        </p:nvSpPr>
        <p:spPr>
          <a:xfrm>
            <a:off x="8539992" y="-1"/>
            <a:ext cx="1524087" cy="687294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76103" y="1109600"/>
            <a:ext cx="7143939" cy="3850885"/>
          </a:xfrm>
        </p:spPr>
        <p:txBody>
          <a:bodyPr vert="horz" lIns="0" tIns="0" rIns="0" bIns="0" anchor="t" anchorCtr="0">
            <a:noAutofit/>
          </a:bodyPr>
          <a:lstStyle>
            <a:lvl1pPr algn="l" rtl="0">
              <a:defRPr sz="60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476103" y="5092929"/>
            <a:ext cx="7143939" cy="1137771"/>
          </a:xfrm>
        </p:spPr>
        <p:txBody>
          <a:bodyPr lIns="0" tIns="0" rIns="0" bIns="0" anchor="t" anchorCtr="0">
            <a:normAutofit/>
          </a:bodyPr>
          <a:lstStyle>
            <a:lvl1pPr marL="0" indent="0" algn="l" rtl="0">
              <a:spcBef>
                <a:spcPts val="30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49377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7544" y="283"/>
            <a:ext cx="2133424" cy="6857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426870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ilent 16:9 End w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82582A3-F53A-4359-A8A5-0E2DE02C70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183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82582A3-F53A-4359-A8A5-0E2DE02C70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56097729-5F47-41FD-8C30-7C9F3B4771B4}"/>
              </a:ext>
            </a:extLst>
          </p:cNvPr>
          <p:cNvGrpSpPr/>
          <p:nvPr userDrawn="1"/>
        </p:nvGrpSpPr>
        <p:grpSpPr>
          <a:xfrm>
            <a:off x="1" y="-14941"/>
            <a:ext cx="12191999" cy="6872941"/>
            <a:chOff x="1" y="-14941"/>
            <a:chExt cx="12191999" cy="6872941"/>
          </a:xfrm>
        </p:grpSpPr>
        <p:sp>
          <p:nvSpPr>
            <p:cNvPr id="22" name="Rectangle 21"/>
            <p:cNvSpPr/>
            <p:nvPr userDrawn="1"/>
          </p:nvSpPr>
          <p:spPr>
            <a:xfrm>
              <a:off x="10046744" y="-14941"/>
              <a:ext cx="621169" cy="687294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30" name="Rectangle 29"/>
            <p:cNvSpPr/>
            <p:nvPr userDrawn="1"/>
          </p:nvSpPr>
          <p:spPr>
            <a:xfrm>
              <a:off x="1" y="-14941"/>
              <a:ext cx="10046744" cy="687294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sz="2000" dirty="0">
                <a:latin typeface="Arial" panose="020B0604020202020204" pitchFamily="34" charset="0"/>
              </a:endParaRPr>
            </a:p>
          </p:txBody>
        </p:sp>
        <p:sp>
          <p:nvSpPr>
            <p:cNvPr id="32" name="Rectangle 31"/>
            <p:cNvSpPr/>
            <p:nvPr userDrawn="1"/>
          </p:nvSpPr>
          <p:spPr>
            <a:xfrm>
              <a:off x="10667913" y="-14941"/>
              <a:ext cx="1524087" cy="687294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dirty="0">
                <a:latin typeface="Arial" panose="020B0604020202020204" pitchFamily="34" charset="0"/>
              </a:endParaRPr>
            </a:p>
          </p:txBody>
        </p:sp>
        <p:pic>
          <p:nvPicPr>
            <p:cNvPr id="15" name="Picture 14" descr="A close up of a logo&#10;&#10;Description generated with very high confidence">
              <a:extLst>
                <a:ext uri="{FF2B5EF4-FFF2-40B4-BE49-F238E27FC236}">
                  <a16:creationId xmlns:a16="http://schemas.microsoft.com/office/drawing/2014/main" id="{E751C32A-B6B1-4A85-B1E9-5F99572131E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79686" y="1798546"/>
              <a:ext cx="6087374" cy="2864967"/>
            </a:xfrm>
            <a:prstGeom prst="rect">
              <a:avLst/>
            </a:prstGeom>
          </p:spPr>
        </p:pic>
      </p:grp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49377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7922226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ilent 16:9 Title Sub Only">
  <p:cSld name="1_Agilent 16:9 Title Sub Only"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p23"/>
          <p:cNvSpPr txBox="1">
            <a:spLocks noGrp="1"/>
          </p:cNvSpPr>
          <p:nvPr>
            <p:ph type="body" idx="1"/>
          </p:nvPr>
        </p:nvSpPr>
        <p:spPr>
          <a:xfrm>
            <a:off x="503238" y="722247"/>
            <a:ext cx="9817854" cy="3900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Arial"/>
              <a:buNone/>
              <a:defRPr sz="24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34925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900"/>
              <a:buChar char="•"/>
              <a:defRPr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lvl="2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3pPr>
            <a:lvl4pPr marL="1828800" lvl="3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2" name="Google Shape;182;p23"/>
          <p:cNvSpPr txBox="1">
            <a:spLocks noGrp="1"/>
          </p:cNvSpPr>
          <p:nvPr>
            <p:ph type="title"/>
          </p:nvPr>
        </p:nvSpPr>
        <p:spPr>
          <a:xfrm>
            <a:off x="502920" y="246888"/>
            <a:ext cx="9818128" cy="4846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Arial"/>
              <a:buNone/>
              <a:defRPr sz="2800" b="0" i="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3" name="Google Shape;183;p23"/>
          <p:cNvSpPr txBox="1">
            <a:spLocks noGrp="1"/>
          </p:cNvSpPr>
          <p:nvPr>
            <p:ph type="dt" idx="10"/>
          </p:nvPr>
        </p:nvSpPr>
        <p:spPr>
          <a:xfrm>
            <a:off x="1097280" y="6620256"/>
            <a:ext cx="1060704" cy="1188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8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dirty="0"/>
              <a:t>16 August 2022</a:t>
            </a:r>
            <a:endParaRPr dirty="0"/>
          </a:p>
        </p:txBody>
      </p:sp>
      <p:sp>
        <p:nvSpPr>
          <p:cNvPr id="184" name="Google Shape;184;p23"/>
          <p:cNvSpPr txBox="1">
            <a:spLocks noGrp="1"/>
          </p:cNvSpPr>
          <p:nvPr>
            <p:ph type="ftr" idx="11"/>
          </p:nvPr>
        </p:nvSpPr>
        <p:spPr>
          <a:xfrm>
            <a:off x="2615184" y="6620256"/>
            <a:ext cx="5303520" cy="1188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8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dirty="0"/>
              <a:t>Agilent Private - DRAFT - NOT FOR DISTRIBUTION</a:t>
            </a:r>
            <a:endParaRPr dirty="0"/>
          </a:p>
        </p:txBody>
      </p:sp>
      <p:sp>
        <p:nvSpPr>
          <p:cNvPr id="185" name="Google Shape;185;p23"/>
          <p:cNvSpPr txBox="1">
            <a:spLocks noGrp="1"/>
          </p:cNvSpPr>
          <p:nvPr>
            <p:ph type="sldNum" idx="12"/>
          </p:nvPr>
        </p:nvSpPr>
        <p:spPr>
          <a:xfrm>
            <a:off x="502920" y="6620256"/>
            <a:ext cx="420624" cy="1188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897198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ilent 16:9 2-Col Right Only Narrow">
  <p:cSld name="Agilent 16:9 2-Col Right Only Narrow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116"/>
          <p:cNvSpPr txBox="1">
            <a:spLocks noGrp="1"/>
          </p:cNvSpPr>
          <p:nvPr>
            <p:ph type="body" idx="1"/>
          </p:nvPr>
        </p:nvSpPr>
        <p:spPr>
          <a:xfrm>
            <a:off x="7465671" y="1287522"/>
            <a:ext cx="4235845" cy="4887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>
                <a:latin typeface="Arial"/>
                <a:ea typeface="Arial"/>
                <a:cs typeface="Arial"/>
                <a:sym typeface="Arial"/>
              </a:defRPr>
            </a:lvl1pPr>
            <a:lvl2pPr marL="914400" lvl="1" indent="-34925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900"/>
              <a:buChar char="•"/>
              <a:defRPr sz="1900">
                <a:latin typeface="Arial"/>
                <a:ea typeface="Arial"/>
                <a:cs typeface="Arial"/>
                <a:sym typeface="Arial"/>
              </a:defRPr>
            </a:lvl2pPr>
            <a:lvl3pPr marL="1371600" lvl="2" indent="-33655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700"/>
              <a:buChar char="–"/>
              <a:defRPr sz="1700">
                <a:latin typeface="Arial"/>
                <a:ea typeface="Arial"/>
                <a:cs typeface="Arial"/>
                <a:sym typeface="Arial"/>
              </a:defRPr>
            </a:lvl3pPr>
            <a:lvl4pPr marL="1828800" lvl="3" indent="-33655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700"/>
              <a:buChar char="•"/>
              <a:defRPr sz="1700">
                <a:latin typeface="Arial"/>
                <a:ea typeface="Arial"/>
                <a:cs typeface="Arial"/>
                <a:sym typeface="Arial"/>
              </a:defRPr>
            </a:lvl4pPr>
            <a:lvl5pPr marL="2286000" lvl="4" indent="-32385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500"/>
              <a:buChar char="–"/>
              <a:defRPr sz="1500">
                <a:latin typeface="Arial"/>
                <a:ea typeface="Arial"/>
                <a:cs typeface="Arial"/>
                <a:sym typeface="Arial"/>
              </a:defRPr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" name="Google Shape;67;p116"/>
          <p:cNvSpPr txBox="1">
            <a:spLocks noGrp="1"/>
          </p:cNvSpPr>
          <p:nvPr>
            <p:ph type="dt" idx="10"/>
          </p:nvPr>
        </p:nvSpPr>
        <p:spPr>
          <a:xfrm>
            <a:off x="1092982" y="6620256"/>
            <a:ext cx="1055857" cy="1188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dirty="0"/>
              <a:t>16 August 2022</a:t>
            </a:r>
            <a:endParaRPr dirty="0"/>
          </a:p>
        </p:txBody>
      </p:sp>
      <p:sp>
        <p:nvSpPr>
          <p:cNvPr id="68" name="Google Shape;68;p116"/>
          <p:cNvSpPr txBox="1">
            <a:spLocks noGrp="1"/>
          </p:cNvSpPr>
          <p:nvPr>
            <p:ph type="ftr" idx="11"/>
          </p:nvPr>
        </p:nvSpPr>
        <p:spPr>
          <a:xfrm>
            <a:off x="2614298" y="6620256"/>
            <a:ext cx="5303520" cy="1188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dirty="0"/>
              <a:t>Agilent Private - DRAFT - NOT FOR DISTRIBUTION</a:t>
            </a:r>
            <a:endParaRPr dirty="0"/>
          </a:p>
        </p:txBody>
      </p:sp>
      <p:sp>
        <p:nvSpPr>
          <p:cNvPr id="69" name="Google Shape;69;p116"/>
          <p:cNvSpPr txBox="1">
            <a:spLocks noGrp="1"/>
          </p:cNvSpPr>
          <p:nvPr>
            <p:ph type="sldNum" idx="12"/>
          </p:nvPr>
        </p:nvSpPr>
        <p:spPr>
          <a:xfrm>
            <a:off x="502920" y="6620256"/>
            <a:ext cx="434347" cy="1188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70" name="Google Shape;70;p116"/>
          <p:cNvSpPr txBox="1">
            <a:spLocks noGrp="1"/>
          </p:cNvSpPr>
          <p:nvPr>
            <p:ph type="title"/>
          </p:nvPr>
        </p:nvSpPr>
        <p:spPr>
          <a:xfrm>
            <a:off x="502919" y="246887"/>
            <a:ext cx="11198597" cy="9267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Arial"/>
              <a:buNone/>
              <a:defRPr sz="2800" b="0" i="0"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7712863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sk Overview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A8606-3BBD-5366-4C8F-52D13648F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8491" y="248556"/>
            <a:ext cx="11194268" cy="90549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EEFF31-EE23-C4E4-6FE7-0A4096C2E6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Agilent Private - DRAFT - NOT FOR DISTRIBUTIO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02DC4A-4C49-2C28-1682-5635F793277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dirty="0"/>
              <a:t>16 August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CBDA01-0AB7-94F7-D380-95F8EDF702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7" name="Google Shape;75;p94">
            <a:extLst>
              <a:ext uri="{FF2B5EF4-FFF2-40B4-BE49-F238E27FC236}">
                <a16:creationId xmlns:a16="http://schemas.microsoft.com/office/drawing/2014/main" id="{D91FD25D-3EB5-43EB-AC83-6C4432C21EEF}"/>
              </a:ext>
            </a:extLst>
          </p:cNvPr>
          <p:cNvSpPr txBox="1">
            <a:spLocks noGrp="1"/>
          </p:cNvSpPr>
          <p:nvPr>
            <p:ph type="body" idx="2"/>
          </p:nvPr>
        </p:nvSpPr>
        <p:spPr>
          <a:xfrm>
            <a:off x="6172200" y="1887794"/>
            <a:ext cx="5486400" cy="201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40" tIns="45700" rIns="91425" bIns="45700" anchor="t" anchorCtr="0">
            <a:noAutofit/>
          </a:bodyPr>
          <a:lstStyle>
            <a:lvl1pPr marL="177800" lvl="0" indent="-177800" algn="l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dk1"/>
              </a:buClr>
              <a:buSzPts val="1400"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  <a:latin typeface="+mn-lt"/>
                <a:ea typeface="Verdana"/>
                <a:cs typeface="Verdana"/>
                <a:sym typeface="Verdana"/>
              </a:defRPr>
            </a:lvl1pPr>
            <a:lvl2pPr marL="914400" lvl="1" indent="-3048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200"/>
              <a:buChar char="•"/>
              <a:defRPr sz="1200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2286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100"/>
              <a:buNone/>
              <a:defRPr sz="1100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295275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050"/>
              <a:buChar char="•"/>
              <a:defRPr sz="1050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295275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050"/>
              <a:buChar char="–"/>
              <a:defRPr sz="1050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dirty="0"/>
          </a:p>
        </p:txBody>
      </p:sp>
      <p:sp>
        <p:nvSpPr>
          <p:cNvPr id="8" name="Google Shape;76;p94">
            <a:extLst>
              <a:ext uri="{FF2B5EF4-FFF2-40B4-BE49-F238E27FC236}">
                <a16:creationId xmlns:a16="http://schemas.microsoft.com/office/drawing/2014/main" id="{506FE822-6433-A54C-ED90-98201E0E3B4A}"/>
              </a:ext>
            </a:extLst>
          </p:cNvPr>
          <p:cNvSpPr txBox="1"/>
          <p:nvPr userDrawn="1"/>
        </p:nvSpPr>
        <p:spPr>
          <a:xfrm>
            <a:off x="396564" y="1496899"/>
            <a:ext cx="134203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dk1"/>
                </a:solidFill>
                <a:latin typeface="+mn-lt"/>
                <a:ea typeface="Verdana"/>
                <a:cs typeface="Verdana"/>
                <a:sym typeface="Verdana"/>
              </a:rPr>
              <a:t>Key Tasks</a:t>
            </a:r>
            <a:endParaRPr dirty="0">
              <a:latin typeface="+mn-lt"/>
            </a:endParaRPr>
          </a:p>
        </p:txBody>
      </p:sp>
      <p:sp>
        <p:nvSpPr>
          <p:cNvPr id="9" name="Google Shape;77;p94">
            <a:extLst>
              <a:ext uri="{FF2B5EF4-FFF2-40B4-BE49-F238E27FC236}">
                <a16:creationId xmlns:a16="http://schemas.microsoft.com/office/drawing/2014/main" id="{61C8F187-EB46-935E-B716-1058F286503B}"/>
              </a:ext>
            </a:extLst>
          </p:cNvPr>
          <p:cNvSpPr txBox="1"/>
          <p:nvPr userDrawn="1"/>
        </p:nvSpPr>
        <p:spPr>
          <a:xfrm>
            <a:off x="6072513" y="1496899"/>
            <a:ext cx="160172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dk1"/>
                </a:solidFill>
                <a:latin typeface="+mn-lt"/>
                <a:ea typeface="Verdana"/>
                <a:cs typeface="Verdana"/>
                <a:sym typeface="Verdana"/>
              </a:rPr>
              <a:t>Key Outputs</a:t>
            </a:r>
            <a:endParaRPr dirty="0">
              <a:latin typeface="+mn-lt"/>
            </a:endParaRPr>
          </a:p>
        </p:txBody>
      </p:sp>
      <p:cxnSp>
        <p:nvCxnSpPr>
          <p:cNvPr id="10" name="Google Shape;78;p94">
            <a:extLst>
              <a:ext uri="{FF2B5EF4-FFF2-40B4-BE49-F238E27FC236}">
                <a16:creationId xmlns:a16="http://schemas.microsoft.com/office/drawing/2014/main" id="{FFD519A1-434B-80EE-FB9F-0D003B3699B8}"/>
              </a:ext>
            </a:extLst>
          </p:cNvPr>
          <p:cNvCxnSpPr/>
          <p:nvPr userDrawn="1"/>
        </p:nvCxnSpPr>
        <p:spPr>
          <a:xfrm>
            <a:off x="496251" y="1846567"/>
            <a:ext cx="5394960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1" name="Google Shape;79;p94">
            <a:extLst>
              <a:ext uri="{FF2B5EF4-FFF2-40B4-BE49-F238E27FC236}">
                <a16:creationId xmlns:a16="http://schemas.microsoft.com/office/drawing/2014/main" id="{878203F3-A28F-3128-F846-C7D67E1DEA69}"/>
              </a:ext>
            </a:extLst>
          </p:cNvPr>
          <p:cNvCxnSpPr/>
          <p:nvPr userDrawn="1"/>
        </p:nvCxnSpPr>
        <p:spPr>
          <a:xfrm>
            <a:off x="6172200" y="1846567"/>
            <a:ext cx="5394960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" name="Google Shape;80;p94">
            <a:extLst>
              <a:ext uri="{FF2B5EF4-FFF2-40B4-BE49-F238E27FC236}">
                <a16:creationId xmlns:a16="http://schemas.microsoft.com/office/drawing/2014/main" id="{C10ECA2A-C289-8D4A-1AD2-5A9A7F70A4B1}"/>
              </a:ext>
            </a:extLst>
          </p:cNvPr>
          <p:cNvSpPr txBox="1"/>
          <p:nvPr userDrawn="1"/>
        </p:nvSpPr>
        <p:spPr>
          <a:xfrm>
            <a:off x="413148" y="1158345"/>
            <a:ext cx="135966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dk1"/>
                </a:solidFill>
                <a:latin typeface="+mn-lt"/>
                <a:ea typeface="Verdana"/>
                <a:cs typeface="Verdana"/>
                <a:sym typeface="Verdana"/>
              </a:rPr>
              <a:t>Objective:</a:t>
            </a:r>
            <a:endParaRPr dirty="0">
              <a:latin typeface="+mn-lt"/>
            </a:endParaRPr>
          </a:p>
        </p:txBody>
      </p:sp>
      <p:sp>
        <p:nvSpPr>
          <p:cNvPr id="13" name="Google Shape;81;p94">
            <a:extLst>
              <a:ext uri="{FF2B5EF4-FFF2-40B4-BE49-F238E27FC236}">
                <a16:creationId xmlns:a16="http://schemas.microsoft.com/office/drawing/2014/main" id="{8A248022-83EB-5F0D-5E22-2966EB8F1688}"/>
              </a:ext>
            </a:extLst>
          </p:cNvPr>
          <p:cNvSpPr txBox="1">
            <a:spLocks noGrp="1"/>
          </p:cNvSpPr>
          <p:nvPr>
            <p:ph type="body" idx="3"/>
          </p:nvPr>
        </p:nvSpPr>
        <p:spPr>
          <a:xfrm>
            <a:off x="1502037" y="1208259"/>
            <a:ext cx="10190722" cy="2714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40" tIns="45700" rIns="91440" bIns="45700" anchor="t" anchorCtr="0">
            <a:noAutofit/>
          </a:bodyPr>
          <a:lstStyle>
            <a:lvl1pPr marL="7938" lv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tabLst/>
              <a:defRPr sz="1400"/>
            </a:lvl1pPr>
            <a:lvl2pPr marL="914400" lvl="1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3pPr>
            <a:lvl4pPr marL="1828800" lvl="3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dirty="0"/>
          </a:p>
        </p:txBody>
      </p:sp>
      <p:sp>
        <p:nvSpPr>
          <p:cNvPr id="15" name="Google Shape;83;p94">
            <a:extLst>
              <a:ext uri="{FF2B5EF4-FFF2-40B4-BE49-F238E27FC236}">
                <a16:creationId xmlns:a16="http://schemas.microsoft.com/office/drawing/2014/main" id="{E923A8FB-78FE-76F2-6D4F-027C871BF141}"/>
              </a:ext>
            </a:extLst>
          </p:cNvPr>
          <p:cNvSpPr txBox="1"/>
          <p:nvPr userDrawn="1"/>
        </p:nvSpPr>
        <p:spPr>
          <a:xfrm>
            <a:off x="6064046" y="4000394"/>
            <a:ext cx="33970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dk1"/>
                </a:solidFill>
                <a:latin typeface="+mn-lt"/>
                <a:ea typeface="Verdana"/>
                <a:cs typeface="Verdana"/>
                <a:sym typeface="Verdana"/>
              </a:rPr>
              <a:t>Risks (R) / Decisions (D) Needed</a:t>
            </a:r>
            <a:endParaRPr dirty="0">
              <a:latin typeface="+mn-lt"/>
            </a:endParaRPr>
          </a:p>
        </p:txBody>
      </p:sp>
      <p:cxnSp>
        <p:nvCxnSpPr>
          <p:cNvPr id="16" name="Google Shape;84;p94">
            <a:extLst>
              <a:ext uri="{FF2B5EF4-FFF2-40B4-BE49-F238E27FC236}">
                <a16:creationId xmlns:a16="http://schemas.microsoft.com/office/drawing/2014/main" id="{E3E73B54-619A-DDBA-5386-F1D272E155D5}"/>
              </a:ext>
            </a:extLst>
          </p:cNvPr>
          <p:cNvCxnSpPr/>
          <p:nvPr userDrawn="1"/>
        </p:nvCxnSpPr>
        <p:spPr>
          <a:xfrm>
            <a:off x="6172200" y="4350062"/>
            <a:ext cx="5394960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6E14BA3-9970-BA27-3C41-46140CEBA7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8491" y="1887794"/>
            <a:ext cx="5486400" cy="4288536"/>
          </a:xfrm>
        </p:spPr>
        <p:txBody>
          <a:bodyPr lIns="91440">
            <a:noAutofit/>
          </a:bodyPr>
          <a:lstStyle>
            <a:lvl1pPr marL="234950" indent="-234950">
              <a:buFont typeface="+mj-lt"/>
              <a:buAutoNum type="arabicPeriod"/>
              <a:tabLst/>
              <a:defRPr sz="1400"/>
            </a:lvl1pPr>
            <a:lvl2pPr marL="407988" indent="-146050">
              <a:tabLst/>
              <a:defRPr sz="1200"/>
            </a:lvl2pPr>
            <a:lvl3pPr marL="688975" indent="-254000">
              <a:tabLst/>
              <a:defRPr sz="1100"/>
            </a:lvl3pPr>
            <a:lvl4pPr marL="860425" indent="-190500">
              <a:tabLst/>
              <a:defRPr sz="1100"/>
            </a:lvl4pPr>
            <a:lvl5pPr marL="1087438" indent="-180975">
              <a:tabLst/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Google Shape;75;p94">
            <a:extLst>
              <a:ext uri="{FF2B5EF4-FFF2-40B4-BE49-F238E27FC236}">
                <a16:creationId xmlns:a16="http://schemas.microsoft.com/office/drawing/2014/main" id="{BE8C2E1B-384D-4F74-2F7F-C0BFA2C02637}"/>
              </a:ext>
            </a:extLst>
          </p:cNvPr>
          <p:cNvSpPr txBox="1">
            <a:spLocks noGrp="1"/>
          </p:cNvSpPr>
          <p:nvPr>
            <p:ph type="body" idx="14"/>
          </p:nvPr>
        </p:nvSpPr>
        <p:spPr>
          <a:xfrm>
            <a:off x="6172200" y="4387495"/>
            <a:ext cx="5486400" cy="17922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40" tIns="45700" rIns="91425" bIns="45700" anchor="t" anchorCtr="0">
            <a:noAutofit/>
          </a:bodyPr>
          <a:lstStyle>
            <a:lvl1pPr marL="177800" lvl="0" indent="-177800" algn="l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dk1"/>
              </a:buClr>
              <a:buSzPts val="1400"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  <a:latin typeface="+mn-lt"/>
                <a:ea typeface="Verdana"/>
                <a:cs typeface="Verdana"/>
                <a:sym typeface="Verdana"/>
              </a:defRPr>
            </a:lvl1pPr>
            <a:lvl2pPr marL="914400" lvl="1" indent="-3048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200"/>
              <a:buChar char="•"/>
              <a:defRPr sz="1200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2286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100"/>
              <a:buNone/>
              <a:defRPr sz="1100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295275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050"/>
              <a:buChar char="•"/>
              <a:defRPr sz="1050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295275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050"/>
              <a:buChar char="–"/>
              <a:defRPr sz="1050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0194879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36693" y="1353313"/>
            <a:ext cx="10932160" cy="4755387"/>
          </a:xfr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EA1010"/>
              </a:buClr>
              <a:buSzPct val="75000"/>
              <a:buFont typeface="Wingdings" charset="2"/>
              <a:buChar char="§"/>
              <a:defRPr lang="en-US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685783" lvl="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A1010"/>
              </a:buClr>
              <a:buSzPct val="75000"/>
              <a:buFont typeface="Lucida Grande"/>
              <a:buChar char="-"/>
            </a:pPr>
            <a:r>
              <a:rPr lang="en-US" dirty="0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76A422E-F4A4-1902-F28A-BBE0839772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2026" y="6507941"/>
            <a:ext cx="2045710" cy="25717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0D9563C-E1F3-1DC0-5268-D210B59E899B}"/>
              </a:ext>
            </a:extLst>
          </p:cNvPr>
          <p:cNvSpPr txBox="1"/>
          <p:nvPr userDrawn="1"/>
        </p:nvSpPr>
        <p:spPr>
          <a:xfrm>
            <a:off x="2609913" y="6636528"/>
            <a:ext cx="6095114" cy="1692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500" dirty="0"/>
              <a:t>© 2022 DatalogIQ 360 |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22834259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B30B624-9947-E157-412F-3870F6D8DD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2026" y="6507941"/>
            <a:ext cx="2045710" cy="25717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036BD4B-5A4E-149C-5F44-44C9C827EF73}"/>
              </a:ext>
            </a:extLst>
          </p:cNvPr>
          <p:cNvSpPr txBox="1"/>
          <p:nvPr userDrawn="1"/>
        </p:nvSpPr>
        <p:spPr>
          <a:xfrm>
            <a:off x="2609913" y="6636528"/>
            <a:ext cx="6095114" cy="1692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500" dirty="0"/>
              <a:t>© 2022 DatalogIQ 360 |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47543756"/>
      </p:ext>
    </p:extLst>
  </p:cSld>
  <p:clrMapOvr>
    <a:masterClrMapping/>
  </p:clrMapOvr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vider gradient Blank">
    <p:bg>
      <p:bgPr>
        <a:gradFill>
          <a:gsLst>
            <a:gs pos="100000">
              <a:schemeClr val="tx2">
                <a:lumMod val="94000"/>
                <a:lumOff val="6000"/>
              </a:schemeClr>
            </a:gs>
            <a:gs pos="0">
              <a:srgbClr val="0F0F0F">
                <a:lumMod val="94000"/>
                <a:lumOff val="6000"/>
              </a:srgb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9234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2B608-5707-6EA4-26F1-72CC4FC5C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4978DA-AC23-3946-184F-0017DC69CDA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7682557-C9E3-A5EB-65FD-F6E8A9E6DA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9C24A0D-65C8-9D16-696B-26FB06AE2A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2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EBFD35B-CD43-991A-234C-B39F915671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5181FCE-9D72-7E48-5A77-EE821814C7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264579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3521" y="109874"/>
            <a:ext cx="11191950" cy="103965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1E617D7F-ABC2-B54B-B054-76FDCC8184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309670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34328904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490704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805B6D-2EE1-FD1E-038F-5CE440376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89737C-5388-D4AE-8871-473EBFCBAC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F002046-D8EF-8A17-7E9D-E90DFD95E1F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1E52B18-D7BA-585C-4C61-FBD673FBA86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2BBC4F1-0439-8AA8-D029-E149BB9C44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6A7567A-047B-68FF-00ED-E730E4C501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22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1A53ACE-CA51-21C1-DC68-9640904B44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DAA246B-5D03-7606-DDCA-8AC8C0BB46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01763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40B2BC-2AEA-7093-70EA-8E497D44CE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469A6C-F24B-40D2-79DB-EAFE562FBE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22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E115B7F-BAE7-763A-30B2-C1C32E744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807326-6C7A-A4E6-8468-2680BA97D7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23016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8B4379B-5838-2CE6-D7CB-E196874766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22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74E6492-C8B6-0B0A-9F8D-C75DB71945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074C90-4DF7-8037-9929-5F97F25BE5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34762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6287F1-60CB-10B0-64C1-DC4EFBFE72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4EC2E7-ADCC-B5ED-F2C6-8E81343D4C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F436C1-37C6-7208-0366-2B56AAC8390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A7152D-91F6-AE1B-83BB-2264842003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2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F35685E-A916-9FB2-C9E6-D3AD0A6B3E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DEA2D84-E72E-361B-81B9-5A2154EC3C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85317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94D4EE-21C9-49AF-9F71-4A61B28C09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367A66E-6E68-73D3-5294-4D4AE128A84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5A4805-6360-7B87-AD68-5E10618D86E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2BFB9D-1F38-A70A-9907-F87FAA991C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2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AD157C-474B-23AC-B0C4-1B785EF027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5DD46BF-CB72-8DA1-B580-1BF185392D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65710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image" Target="../media/image3.png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tags" Target="../tags/tag1.xml"/><Relationship Id="rId30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5" Type="http://schemas.openxmlformats.org/officeDocument/2006/relationships/slideLayout" Target="../slideLayouts/slideLayout41.xml"/><Relationship Id="rId4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66CA43B-6109-BF54-46D0-D771F776A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198AF3-7052-8ED1-E29A-1D61CAF871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569A2B-7608-109A-091E-E57256F90E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0AD1BF-9E2F-4002-87F7-EBBF916E481A}" type="datetimeFigureOut">
              <a:rPr lang="en-US" smtClean="0"/>
              <a:t>8/2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4F30CB-73ED-00F3-A0C1-09E56A1698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F9E01F-DDD6-E157-1873-7798029E8A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7031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58BDD55-716D-40BF-B7BD-53E264DE0E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852859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416" imgH="416" progId="TCLayout.ActiveDocument.1">
                  <p:embed/>
                </p:oleObj>
              </mc:Choice>
              <mc:Fallback>
                <p:oleObj name="think-cell Slide" r:id="rId29" imgW="416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58BDD55-716D-40BF-B7BD-53E264DE0E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FFBCA17-8DB0-47C4-97FF-0AB061EA3262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2800" b="0" i="0" baseline="0" dirty="0">
              <a:latin typeface="Arial" panose="020B0604020202020204" pitchFamily="34" charset="0"/>
              <a:ea typeface="Roboto Medium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0" y="6482602"/>
            <a:ext cx="12192000" cy="377952"/>
            <a:chOff x="0" y="6482602"/>
            <a:chExt cx="12192000" cy="377952"/>
          </a:xfrm>
        </p:grpSpPr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3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6482602"/>
              <a:ext cx="12192000" cy="377952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 userDrawn="1"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4" y="6487228"/>
              <a:ext cx="12190992" cy="371825"/>
            </a:xfrm>
            <a:prstGeom prst="rect">
              <a:avLst/>
            </a:prstGeom>
          </p:spPr>
        </p:pic>
      </p:grp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498491" y="248556"/>
            <a:ext cx="11194268" cy="905495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498491" y="1291996"/>
            <a:ext cx="11194268" cy="4668376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3"/>
          </p:nvPr>
        </p:nvSpPr>
        <p:spPr bwMode="white">
          <a:xfrm>
            <a:off x="2614298" y="6620256"/>
            <a:ext cx="5303520" cy="11887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4" name="Date Placeholder 3"/>
          <p:cNvSpPr>
            <a:spLocks noGrp="1"/>
          </p:cNvSpPr>
          <p:nvPr userDrawn="1">
            <p:ph type="dt" sz="half" idx="2"/>
          </p:nvPr>
        </p:nvSpPr>
        <p:spPr bwMode="white">
          <a:xfrm>
            <a:off x="1092982" y="6620256"/>
            <a:ext cx="1055857" cy="11887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800" rtl="0" eaLnBrk="1" latinLnBrk="0" hangingPunct="1">
              <a:defRPr lang="en-US" sz="8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 bwMode="white">
          <a:xfrm>
            <a:off x="502920" y="6620256"/>
            <a:ext cx="434347" cy="11887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800" rtl="0" eaLnBrk="1" latinLnBrk="0" hangingPunct="1">
              <a:defRPr lang="en-US" sz="800" b="0" i="0" kern="1200" smtClean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32422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36" r:id="rId19"/>
    <p:sldLayoutId id="2147483737" r:id="rId20"/>
    <p:sldLayoutId id="2147483738" r:id="rId21"/>
    <p:sldLayoutId id="2147483739" r:id="rId22"/>
    <p:sldLayoutId id="2147483740" r:id="rId23"/>
    <p:sldLayoutId id="2147483741" r:id="rId24"/>
    <p:sldLayoutId id="2147483742" r:id="rId25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b="0" i="0" kern="1200">
          <a:solidFill>
            <a:schemeClr val="accent1"/>
          </a:solidFill>
          <a:latin typeface="Arial" panose="020B0604020202020204" pitchFamily="34" charset="0"/>
          <a:ea typeface="Roboto Medium" panose="02000000000000000000" pitchFamily="2" charset="0"/>
          <a:cs typeface="Arial" panose="020B0604020202020204" pitchFamily="34" charset="0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1200"/>
        </a:spcBef>
        <a:buFontTx/>
        <a:buNone/>
        <a:defRPr sz="2100" kern="1200">
          <a:solidFill>
            <a:schemeClr val="tx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1pPr>
      <a:lvl2pPr marL="173038" indent="-173038" algn="l" defTabSz="6858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2pPr>
      <a:lvl3pPr marL="457200" indent="-228600" algn="l" defTabSz="6858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700" kern="1200">
          <a:solidFill>
            <a:schemeClr val="tx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3pPr>
      <a:lvl4pPr marL="627063" indent="-168275" algn="l" defTabSz="6858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4pPr>
      <a:lvl5pPr marL="857250" indent="-182563" algn="l" defTabSz="6858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3" orient="horz" pos="2160">
          <p15:clr>
            <a:srgbClr val="F26B43"/>
          </p15:clr>
        </p15:guide>
        <p15:guide id="14" pos="6720">
          <p15:clr>
            <a:srgbClr val="F26B43"/>
          </p15:clr>
        </p15:guide>
        <p15:guide id="15" orient="horz" pos="912">
          <p15:clr>
            <a:srgbClr val="F26B43"/>
          </p15:clr>
        </p15:guide>
        <p15:guide id="16" orient="horz" pos="192">
          <p15:clr>
            <a:srgbClr val="F26B43"/>
          </p15:clr>
        </p15:guide>
        <p15:guide id="17" orient="horz" pos="3888">
          <p15:clr>
            <a:srgbClr val="F26B43"/>
          </p15:clr>
        </p15:guide>
        <p15:guide id="18" pos="312">
          <p15:clr>
            <a:srgbClr val="F26B43"/>
          </p15:clr>
        </p15:guide>
        <p15:guide id="19" pos="7488">
          <p15:clr>
            <a:srgbClr val="F26B43"/>
          </p15:clr>
        </p15:guide>
        <p15:guide id="20" orient="horz" pos="1008">
          <p15:clr>
            <a:srgbClr val="F26B43"/>
          </p15:clr>
        </p15:guide>
        <p15:guide id="21" orient="horz" pos="4032">
          <p15:clr>
            <a:srgbClr val="F26B43"/>
          </p15:clr>
        </p15:guide>
        <p15:guide id="22" pos="3840">
          <p15:clr>
            <a:srgbClr val="F26B43"/>
          </p15:clr>
        </p15:guide>
        <p15:guide id="23" orient="horz" pos="4272">
          <p15:clr>
            <a:srgbClr val="F26B43"/>
          </p15:clr>
        </p15:guide>
        <p15:guide id="24" pos="681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36693" y="249511"/>
            <a:ext cx="10932160" cy="9907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0" lang="en-US" sz="373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6693" y="1353311"/>
            <a:ext cx="10932160" cy="47548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A1010"/>
              </a:buClr>
              <a:buSzPct val="75000"/>
              <a:buFont typeface="Wingdings" charset="2"/>
              <a:buChar char="§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685783" marR="0" lvl="1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A1010"/>
              </a:buClr>
              <a:buSzPct val="75000"/>
              <a:buFont typeface="Lucida Grande"/>
              <a:buChar char="-"/>
              <a:tabLst/>
              <a:defRPr/>
            </a:pPr>
            <a:r>
              <a:rPr kumimoji="0" lang="en-US" sz="213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5621020" y="6395731"/>
            <a:ext cx="69088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14354" fontAlgn="auto">
              <a:spcBef>
                <a:spcPts val="0"/>
              </a:spcBef>
              <a:spcAft>
                <a:spcPts val="0"/>
              </a:spcAft>
            </a:pPr>
            <a:fld id="{4BC8C7BF-536A-5D4E-8B21-0CE6F1D2E9E6}" type="slidenum">
              <a:rPr lang="en-US" sz="1067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91435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067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850611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733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marR="0" indent="-228594" algn="l" defTabSz="914377" rtl="0" eaLnBrk="1" fontAlgn="auto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lang="en-US" sz="2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685783" marR="0" indent="-228594" algn="l" defTabSz="914377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>
          <a:srgbClr val="EA1010"/>
        </a:buClr>
        <a:buSzPct val="75000"/>
        <a:buFont typeface="Lucida Grande"/>
        <a:buChar char="-"/>
        <a:tabLst/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8" name="Rectangle 37">
            <a:extLst>
              <a:ext uri="{FF2B5EF4-FFF2-40B4-BE49-F238E27FC236}">
                <a16:creationId xmlns:a16="http://schemas.microsoft.com/office/drawing/2014/main" id="{9B7AD9F6-8CE7-4299-8FC6-328F4DCD3F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55C5B7E0-5759-87DE-4168-B7031A75F75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50680" y="2327052"/>
            <a:ext cx="4309990" cy="1456390"/>
          </a:xfrm>
        </p:spPr>
        <p:txBody>
          <a:bodyPr vert="horz" lIns="91440" tIns="45720" rIns="91440" bIns="45720" rtlCol="0" anchor="b">
            <a:noAutofit/>
          </a:bodyPr>
          <a:lstStyle/>
          <a:p>
            <a:pPr algn="ctr" defTabSz="914400"/>
            <a:r>
              <a:rPr lang="en-US" sz="5400" dirty="0">
                <a:latin typeface="+mj-lt"/>
                <a:ea typeface="+mj-ea"/>
                <a:cs typeface="+mj-cs"/>
              </a:rPr>
              <a:t>Roadmap </a:t>
            </a:r>
            <a:br>
              <a:rPr lang="en-US" sz="5400" dirty="0">
                <a:latin typeface="+mj-lt"/>
                <a:ea typeface="+mj-ea"/>
                <a:cs typeface="+mj-cs"/>
              </a:rPr>
            </a:br>
            <a:r>
              <a:rPr lang="en-US" sz="5400" dirty="0">
                <a:latin typeface="+mj-lt"/>
                <a:ea typeface="+mj-ea"/>
                <a:cs typeface="+mj-cs"/>
              </a:rPr>
              <a:t>to </a:t>
            </a:r>
            <a:r>
              <a:rPr lang="en-US" sz="5400" dirty="0"/>
              <a:t> </a:t>
            </a:r>
            <a:br>
              <a:rPr lang="en-US" sz="5400" dirty="0"/>
            </a:br>
            <a:r>
              <a:rPr lang="en-US" sz="5400" dirty="0"/>
              <a:t>Success</a:t>
            </a:r>
            <a:endParaRPr lang="en-US" sz="5400" dirty="0">
              <a:latin typeface="+mj-lt"/>
              <a:ea typeface="+mj-ea"/>
              <a:cs typeface="+mj-cs"/>
            </a:endParaRPr>
          </a:p>
        </p:txBody>
      </p:sp>
      <p:sp>
        <p:nvSpPr>
          <p:cNvPr id="40" name="sketchy line">
            <a:extLst>
              <a:ext uri="{FF2B5EF4-FFF2-40B4-BE49-F238E27FC236}">
                <a16:creationId xmlns:a16="http://schemas.microsoft.com/office/drawing/2014/main" id="{F49775AF-8896-43EE-92C6-83497D6DC5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90338" y="4409267"/>
            <a:ext cx="3474720" cy="18288"/>
          </a:xfrm>
          <a:custGeom>
            <a:avLst/>
            <a:gdLst>
              <a:gd name="connsiteX0" fmla="*/ 0 w 3474720"/>
              <a:gd name="connsiteY0" fmla="*/ 0 h 18288"/>
              <a:gd name="connsiteX1" fmla="*/ 694944 w 3474720"/>
              <a:gd name="connsiteY1" fmla="*/ 0 h 18288"/>
              <a:gd name="connsiteX2" fmla="*/ 1355141 w 3474720"/>
              <a:gd name="connsiteY2" fmla="*/ 0 h 18288"/>
              <a:gd name="connsiteX3" fmla="*/ 2015338 w 3474720"/>
              <a:gd name="connsiteY3" fmla="*/ 0 h 18288"/>
              <a:gd name="connsiteX4" fmla="*/ 2779776 w 3474720"/>
              <a:gd name="connsiteY4" fmla="*/ 0 h 18288"/>
              <a:gd name="connsiteX5" fmla="*/ 3474720 w 3474720"/>
              <a:gd name="connsiteY5" fmla="*/ 0 h 18288"/>
              <a:gd name="connsiteX6" fmla="*/ 3474720 w 3474720"/>
              <a:gd name="connsiteY6" fmla="*/ 18288 h 18288"/>
              <a:gd name="connsiteX7" fmla="*/ 2779776 w 3474720"/>
              <a:gd name="connsiteY7" fmla="*/ 18288 h 18288"/>
              <a:gd name="connsiteX8" fmla="*/ 2189074 w 3474720"/>
              <a:gd name="connsiteY8" fmla="*/ 18288 h 18288"/>
              <a:gd name="connsiteX9" fmla="*/ 1528877 w 3474720"/>
              <a:gd name="connsiteY9" fmla="*/ 18288 h 18288"/>
              <a:gd name="connsiteX10" fmla="*/ 868680 w 3474720"/>
              <a:gd name="connsiteY10" fmla="*/ 18288 h 18288"/>
              <a:gd name="connsiteX11" fmla="*/ 0 w 3474720"/>
              <a:gd name="connsiteY11" fmla="*/ 18288 h 18288"/>
              <a:gd name="connsiteX12" fmla="*/ 0 w 347472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474720" h="18288" fill="none" extrusionOk="0">
                <a:moveTo>
                  <a:pt x="0" y="0"/>
                </a:moveTo>
                <a:cubicBezTo>
                  <a:pt x="224454" y="-14544"/>
                  <a:pt x="495407" y="26540"/>
                  <a:pt x="694944" y="0"/>
                </a:cubicBezTo>
                <a:cubicBezTo>
                  <a:pt x="894481" y="-26540"/>
                  <a:pt x="1130063" y="24713"/>
                  <a:pt x="1355141" y="0"/>
                </a:cubicBezTo>
                <a:cubicBezTo>
                  <a:pt x="1580219" y="-24713"/>
                  <a:pt x="1820099" y="26695"/>
                  <a:pt x="2015338" y="0"/>
                </a:cubicBezTo>
                <a:cubicBezTo>
                  <a:pt x="2210577" y="-26695"/>
                  <a:pt x="2402045" y="165"/>
                  <a:pt x="2779776" y="0"/>
                </a:cubicBezTo>
                <a:cubicBezTo>
                  <a:pt x="3157507" y="-165"/>
                  <a:pt x="3286859" y="-15571"/>
                  <a:pt x="3474720" y="0"/>
                </a:cubicBezTo>
                <a:cubicBezTo>
                  <a:pt x="3474286" y="7551"/>
                  <a:pt x="3474253" y="9822"/>
                  <a:pt x="3474720" y="18288"/>
                </a:cubicBezTo>
                <a:cubicBezTo>
                  <a:pt x="3233904" y="29845"/>
                  <a:pt x="2945134" y="-5256"/>
                  <a:pt x="2779776" y="18288"/>
                </a:cubicBezTo>
                <a:cubicBezTo>
                  <a:pt x="2614418" y="41832"/>
                  <a:pt x="2339768" y="22709"/>
                  <a:pt x="2189074" y="18288"/>
                </a:cubicBezTo>
                <a:cubicBezTo>
                  <a:pt x="2038380" y="13867"/>
                  <a:pt x="1817434" y="-4947"/>
                  <a:pt x="1528877" y="18288"/>
                </a:cubicBezTo>
                <a:cubicBezTo>
                  <a:pt x="1240320" y="41523"/>
                  <a:pt x="1042447" y="37198"/>
                  <a:pt x="868680" y="18288"/>
                </a:cubicBezTo>
                <a:cubicBezTo>
                  <a:pt x="694913" y="-622"/>
                  <a:pt x="233232" y="44909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474720" h="18288" stroke="0" extrusionOk="0">
                <a:moveTo>
                  <a:pt x="0" y="0"/>
                </a:moveTo>
                <a:cubicBezTo>
                  <a:pt x="202328" y="-14716"/>
                  <a:pt x="332722" y="-11499"/>
                  <a:pt x="625450" y="0"/>
                </a:cubicBezTo>
                <a:cubicBezTo>
                  <a:pt x="918178" y="11499"/>
                  <a:pt x="1096688" y="5123"/>
                  <a:pt x="1389888" y="0"/>
                </a:cubicBezTo>
                <a:cubicBezTo>
                  <a:pt x="1683088" y="-5123"/>
                  <a:pt x="1835981" y="-14038"/>
                  <a:pt x="1980590" y="0"/>
                </a:cubicBezTo>
                <a:cubicBezTo>
                  <a:pt x="2125199" y="14038"/>
                  <a:pt x="2396099" y="-7203"/>
                  <a:pt x="2571293" y="0"/>
                </a:cubicBezTo>
                <a:cubicBezTo>
                  <a:pt x="2746487" y="7203"/>
                  <a:pt x="3041609" y="-12036"/>
                  <a:pt x="3474720" y="0"/>
                </a:cubicBezTo>
                <a:cubicBezTo>
                  <a:pt x="3474638" y="4406"/>
                  <a:pt x="3474631" y="9982"/>
                  <a:pt x="3474720" y="18288"/>
                </a:cubicBezTo>
                <a:cubicBezTo>
                  <a:pt x="3324873" y="21876"/>
                  <a:pt x="3136771" y="12587"/>
                  <a:pt x="2814523" y="18288"/>
                </a:cubicBezTo>
                <a:cubicBezTo>
                  <a:pt x="2492275" y="23989"/>
                  <a:pt x="2294402" y="47111"/>
                  <a:pt x="2154326" y="18288"/>
                </a:cubicBezTo>
                <a:cubicBezTo>
                  <a:pt x="2014250" y="-10535"/>
                  <a:pt x="1820317" y="33903"/>
                  <a:pt x="1494130" y="18288"/>
                </a:cubicBezTo>
                <a:cubicBezTo>
                  <a:pt x="1167943" y="2673"/>
                  <a:pt x="948432" y="14868"/>
                  <a:pt x="729691" y="18288"/>
                </a:cubicBezTo>
                <a:cubicBezTo>
                  <a:pt x="510950" y="21708"/>
                  <a:pt x="264032" y="24354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A880877E-33BB-E2BE-969F-61A25C98D76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2"/>
          <a:stretch/>
        </p:blipFill>
        <p:spPr>
          <a:xfrm>
            <a:off x="5311702" y="10"/>
            <a:ext cx="6878775" cy="6857990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AEDC45BB-E363-21AD-DC7E-D1BEBC889CC4}"/>
              </a:ext>
            </a:extLst>
          </p:cNvPr>
          <p:cNvSpPr txBox="1"/>
          <p:nvPr/>
        </p:nvSpPr>
        <p:spPr>
          <a:xfrm>
            <a:off x="420174" y="5347454"/>
            <a:ext cx="60949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4"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gust 22, 2023</a:t>
            </a:r>
          </a:p>
        </p:txBody>
      </p:sp>
    </p:spTree>
    <p:extLst>
      <p:ext uri="{BB962C8B-B14F-4D97-AF65-F5344CB8AC3E}">
        <p14:creationId xmlns:p14="http://schemas.microsoft.com/office/powerpoint/2010/main" val="993738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4">
            <a:extLst>
              <a:ext uri="{FF2B5EF4-FFF2-40B4-BE49-F238E27FC236}">
                <a16:creationId xmlns:a16="http://schemas.microsoft.com/office/drawing/2014/main" id="{452FE859-0542-8BF0-218F-49557761E1F3}"/>
              </a:ext>
            </a:extLst>
          </p:cNvPr>
          <p:cNvSpPr txBox="1">
            <a:spLocks/>
          </p:cNvSpPr>
          <p:nvPr/>
        </p:nvSpPr>
        <p:spPr>
          <a:xfrm>
            <a:off x="502919" y="246888"/>
            <a:ext cx="11198597" cy="923544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accent1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Navigating the Path to Data Excellence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75000"/>
                </a:schemeClr>
              </a:solidFill>
              <a:effectLst/>
              <a:uLnTx/>
              <a:uFillTx/>
              <a:latin typeface="Arial" panose="020B0604020202020204" pitchFamily="34" charset="0"/>
              <a:ea typeface="Roboto Medium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2" name="Freeform 2">
            <a:extLst>
              <a:ext uri="{FF2B5EF4-FFF2-40B4-BE49-F238E27FC236}">
                <a16:creationId xmlns:a16="http://schemas.microsoft.com/office/drawing/2014/main" id="{741562D0-DD5A-1086-93A7-4C869C2B97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" y="1474506"/>
            <a:ext cx="12190341" cy="4826143"/>
          </a:xfrm>
          <a:custGeom>
            <a:avLst/>
            <a:gdLst>
              <a:gd name="T0" fmla="*/ 0 w 19570"/>
              <a:gd name="T1" fmla="*/ 0 h 7746"/>
              <a:gd name="T2" fmla="*/ 15299 w 19570"/>
              <a:gd name="T3" fmla="*/ 0 h 7746"/>
              <a:gd name="T4" fmla="*/ 15299 w 19570"/>
              <a:gd name="T5" fmla="*/ 0 h 7746"/>
              <a:gd name="T6" fmla="*/ 16884 w 19570"/>
              <a:gd name="T7" fmla="*/ 657 h 7746"/>
              <a:gd name="T8" fmla="*/ 16884 w 19570"/>
              <a:gd name="T9" fmla="*/ 657 h 7746"/>
              <a:gd name="T10" fmla="*/ 17541 w 19570"/>
              <a:gd name="T11" fmla="*/ 2242 h 7746"/>
              <a:gd name="T12" fmla="*/ 17541 w 19570"/>
              <a:gd name="T13" fmla="*/ 2242 h 7746"/>
              <a:gd name="T14" fmla="*/ 16884 w 19570"/>
              <a:gd name="T15" fmla="*/ 3828 h 7746"/>
              <a:gd name="T16" fmla="*/ 16884 w 19570"/>
              <a:gd name="T17" fmla="*/ 3828 h 7746"/>
              <a:gd name="T18" fmla="*/ 15299 w 19570"/>
              <a:gd name="T19" fmla="*/ 4484 h 7746"/>
              <a:gd name="T20" fmla="*/ 4332 w 19570"/>
              <a:gd name="T21" fmla="*/ 4484 h 7746"/>
              <a:gd name="T22" fmla="*/ 4332 w 19570"/>
              <a:gd name="T23" fmla="*/ 4484 h 7746"/>
              <a:gd name="T24" fmla="*/ 4332 w 19570"/>
              <a:gd name="T25" fmla="*/ 4484 h 7746"/>
              <a:gd name="T26" fmla="*/ 3611 w 19570"/>
              <a:gd name="T27" fmla="*/ 4782 h 7746"/>
              <a:gd name="T28" fmla="*/ 3611 w 19570"/>
              <a:gd name="T29" fmla="*/ 4782 h 7746"/>
              <a:gd name="T30" fmla="*/ 3313 w 19570"/>
              <a:gd name="T31" fmla="*/ 5503 h 7746"/>
              <a:gd name="T32" fmla="*/ 3313 w 19570"/>
              <a:gd name="T33" fmla="*/ 5503 h 7746"/>
              <a:gd name="T34" fmla="*/ 3611 w 19570"/>
              <a:gd name="T35" fmla="*/ 6224 h 7746"/>
              <a:gd name="T36" fmla="*/ 3611 w 19570"/>
              <a:gd name="T37" fmla="*/ 6224 h 7746"/>
              <a:gd name="T38" fmla="*/ 4332 w 19570"/>
              <a:gd name="T39" fmla="*/ 6522 h 7746"/>
              <a:gd name="T40" fmla="*/ 4332 w 19570"/>
              <a:gd name="T41" fmla="*/ 6522 h 7746"/>
              <a:gd name="T42" fmla="*/ 19569 w 19570"/>
              <a:gd name="T43" fmla="*/ 6522 h 7746"/>
              <a:gd name="T44" fmla="*/ 19569 w 19570"/>
              <a:gd name="T45" fmla="*/ 7745 h 7746"/>
              <a:gd name="T46" fmla="*/ 4332 w 19570"/>
              <a:gd name="T47" fmla="*/ 7745 h 7746"/>
              <a:gd name="T48" fmla="*/ 4250 w 19570"/>
              <a:gd name="T49" fmla="*/ 7745 h 7746"/>
              <a:gd name="T50" fmla="*/ 4250 w 19570"/>
              <a:gd name="T51" fmla="*/ 7744 h 7746"/>
              <a:gd name="T52" fmla="*/ 4250 w 19570"/>
              <a:gd name="T53" fmla="*/ 7744 h 7746"/>
              <a:gd name="T54" fmla="*/ 2747 w 19570"/>
              <a:gd name="T55" fmla="*/ 7088 h 7746"/>
              <a:gd name="T56" fmla="*/ 2747 w 19570"/>
              <a:gd name="T57" fmla="*/ 7088 h 7746"/>
              <a:gd name="T58" fmla="*/ 2090 w 19570"/>
              <a:gd name="T59" fmla="*/ 5503 h 7746"/>
              <a:gd name="T60" fmla="*/ 2090 w 19570"/>
              <a:gd name="T61" fmla="*/ 5503 h 7746"/>
              <a:gd name="T62" fmla="*/ 2747 w 19570"/>
              <a:gd name="T63" fmla="*/ 3917 h 7746"/>
              <a:gd name="T64" fmla="*/ 2747 w 19570"/>
              <a:gd name="T65" fmla="*/ 3917 h 7746"/>
              <a:gd name="T66" fmla="*/ 4332 w 19570"/>
              <a:gd name="T67" fmla="*/ 3261 h 7746"/>
              <a:gd name="T68" fmla="*/ 15299 w 19570"/>
              <a:gd name="T69" fmla="*/ 3261 h 7746"/>
              <a:gd name="T70" fmla="*/ 15299 w 19570"/>
              <a:gd name="T71" fmla="*/ 3261 h 7746"/>
              <a:gd name="T72" fmla="*/ 15299 w 19570"/>
              <a:gd name="T73" fmla="*/ 3261 h 7746"/>
              <a:gd name="T74" fmla="*/ 16019 w 19570"/>
              <a:gd name="T75" fmla="*/ 2963 h 7746"/>
              <a:gd name="T76" fmla="*/ 16019 w 19570"/>
              <a:gd name="T77" fmla="*/ 2963 h 7746"/>
              <a:gd name="T78" fmla="*/ 16317 w 19570"/>
              <a:gd name="T79" fmla="*/ 2242 h 7746"/>
              <a:gd name="T80" fmla="*/ 16317 w 19570"/>
              <a:gd name="T81" fmla="*/ 2242 h 7746"/>
              <a:gd name="T82" fmla="*/ 16019 w 19570"/>
              <a:gd name="T83" fmla="*/ 1522 h 7746"/>
              <a:gd name="T84" fmla="*/ 16019 w 19570"/>
              <a:gd name="T85" fmla="*/ 1522 h 7746"/>
              <a:gd name="T86" fmla="*/ 15299 w 19570"/>
              <a:gd name="T87" fmla="*/ 1223 h 7746"/>
              <a:gd name="T88" fmla="*/ 15299 w 19570"/>
              <a:gd name="T89" fmla="*/ 1223 h 7746"/>
              <a:gd name="T90" fmla="*/ 0 w 19570"/>
              <a:gd name="T91" fmla="*/ 1223 h 7746"/>
              <a:gd name="T92" fmla="*/ 0 w 19570"/>
              <a:gd name="T93" fmla="*/ 0 h 77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9570" h="7746">
                <a:moveTo>
                  <a:pt x="0" y="0"/>
                </a:moveTo>
                <a:lnTo>
                  <a:pt x="15299" y="0"/>
                </a:lnTo>
                <a:lnTo>
                  <a:pt x="15299" y="0"/>
                </a:lnTo>
                <a:cubicBezTo>
                  <a:pt x="15893" y="0"/>
                  <a:pt x="16464" y="236"/>
                  <a:pt x="16884" y="657"/>
                </a:cubicBezTo>
                <a:lnTo>
                  <a:pt x="16884" y="657"/>
                </a:lnTo>
                <a:cubicBezTo>
                  <a:pt x="17305" y="1077"/>
                  <a:pt x="17541" y="1648"/>
                  <a:pt x="17541" y="2242"/>
                </a:cubicBezTo>
                <a:lnTo>
                  <a:pt x="17541" y="2242"/>
                </a:lnTo>
                <a:cubicBezTo>
                  <a:pt x="17541" y="2837"/>
                  <a:pt x="17305" y="3407"/>
                  <a:pt x="16884" y="3828"/>
                </a:cubicBezTo>
                <a:lnTo>
                  <a:pt x="16884" y="3828"/>
                </a:lnTo>
                <a:cubicBezTo>
                  <a:pt x="16464" y="4248"/>
                  <a:pt x="15893" y="4484"/>
                  <a:pt x="15299" y="4484"/>
                </a:cubicBezTo>
                <a:lnTo>
                  <a:pt x="4332" y="4484"/>
                </a:lnTo>
                <a:lnTo>
                  <a:pt x="4332" y="4484"/>
                </a:lnTo>
                <a:lnTo>
                  <a:pt x="4332" y="4484"/>
                </a:lnTo>
                <a:cubicBezTo>
                  <a:pt x="4061" y="4484"/>
                  <a:pt x="3802" y="4591"/>
                  <a:pt x="3611" y="4782"/>
                </a:cubicBezTo>
                <a:lnTo>
                  <a:pt x="3611" y="4782"/>
                </a:lnTo>
                <a:cubicBezTo>
                  <a:pt x="3420" y="4973"/>
                  <a:pt x="3313" y="5233"/>
                  <a:pt x="3313" y="5503"/>
                </a:cubicBezTo>
                <a:lnTo>
                  <a:pt x="3313" y="5503"/>
                </a:lnTo>
                <a:cubicBezTo>
                  <a:pt x="3313" y="5773"/>
                  <a:pt x="3420" y="6033"/>
                  <a:pt x="3611" y="6224"/>
                </a:cubicBezTo>
                <a:lnTo>
                  <a:pt x="3611" y="6224"/>
                </a:lnTo>
                <a:cubicBezTo>
                  <a:pt x="3802" y="6415"/>
                  <a:pt x="4061" y="6522"/>
                  <a:pt x="4332" y="6522"/>
                </a:cubicBezTo>
                <a:lnTo>
                  <a:pt x="4332" y="6522"/>
                </a:lnTo>
                <a:lnTo>
                  <a:pt x="19569" y="6522"/>
                </a:lnTo>
                <a:lnTo>
                  <a:pt x="19569" y="7745"/>
                </a:lnTo>
                <a:lnTo>
                  <a:pt x="4332" y="7745"/>
                </a:lnTo>
                <a:lnTo>
                  <a:pt x="4250" y="7745"/>
                </a:lnTo>
                <a:lnTo>
                  <a:pt x="4250" y="7744"/>
                </a:lnTo>
                <a:lnTo>
                  <a:pt x="4250" y="7744"/>
                </a:lnTo>
                <a:cubicBezTo>
                  <a:pt x="3685" y="7723"/>
                  <a:pt x="3148" y="7490"/>
                  <a:pt x="2747" y="7088"/>
                </a:cubicBezTo>
                <a:lnTo>
                  <a:pt x="2747" y="7088"/>
                </a:lnTo>
                <a:cubicBezTo>
                  <a:pt x="2326" y="6668"/>
                  <a:pt x="2090" y="6098"/>
                  <a:pt x="2090" y="5503"/>
                </a:cubicBezTo>
                <a:lnTo>
                  <a:pt x="2090" y="5503"/>
                </a:lnTo>
                <a:cubicBezTo>
                  <a:pt x="2090" y="4908"/>
                  <a:pt x="2326" y="4338"/>
                  <a:pt x="2747" y="3917"/>
                </a:cubicBezTo>
                <a:lnTo>
                  <a:pt x="2747" y="3917"/>
                </a:lnTo>
                <a:cubicBezTo>
                  <a:pt x="3167" y="3498"/>
                  <a:pt x="3737" y="3261"/>
                  <a:pt x="4332" y="3261"/>
                </a:cubicBezTo>
                <a:lnTo>
                  <a:pt x="15299" y="3261"/>
                </a:lnTo>
                <a:lnTo>
                  <a:pt x="15299" y="3261"/>
                </a:lnTo>
                <a:lnTo>
                  <a:pt x="15299" y="3261"/>
                </a:lnTo>
                <a:cubicBezTo>
                  <a:pt x="15569" y="3261"/>
                  <a:pt x="15828" y="3154"/>
                  <a:pt x="16019" y="2963"/>
                </a:cubicBezTo>
                <a:lnTo>
                  <a:pt x="16019" y="2963"/>
                </a:lnTo>
                <a:cubicBezTo>
                  <a:pt x="16210" y="2772"/>
                  <a:pt x="16317" y="2512"/>
                  <a:pt x="16317" y="2242"/>
                </a:cubicBezTo>
                <a:lnTo>
                  <a:pt x="16317" y="2242"/>
                </a:lnTo>
                <a:cubicBezTo>
                  <a:pt x="16317" y="1972"/>
                  <a:pt x="16210" y="1712"/>
                  <a:pt x="16019" y="1522"/>
                </a:cubicBezTo>
                <a:lnTo>
                  <a:pt x="16019" y="1522"/>
                </a:lnTo>
                <a:cubicBezTo>
                  <a:pt x="15828" y="1330"/>
                  <a:pt x="15569" y="1223"/>
                  <a:pt x="15299" y="1223"/>
                </a:cubicBezTo>
                <a:lnTo>
                  <a:pt x="15299" y="1223"/>
                </a:lnTo>
                <a:lnTo>
                  <a:pt x="0" y="1223"/>
                </a:lnTo>
                <a:lnTo>
                  <a:pt x="0" y="0"/>
                </a:lnTo>
              </a:path>
            </a:pathLst>
          </a:custGeom>
          <a:solidFill>
            <a:srgbClr val="FFFFFF">
              <a:lumMod val="85000"/>
            </a:srgbClr>
          </a:solidFill>
          <a:ln>
            <a:noFill/>
          </a:ln>
          <a:effectLst/>
        </p:spPr>
        <p:txBody>
          <a:bodyPr wrap="none" anchor="ctr"/>
          <a:lstStyle/>
          <a:p>
            <a:pPr defTabSz="457200">
              <a:defRPr/>
            </a:pPr>
            <a:endParaRPr lang="en-US" sz="3265" kern="0">
              <a:solidFill>
                <a:srgbClr val="53565A"/>
              </a:solidFill>
              <a:cs typeface="Arial" panose="020B0604020202020204" pitchFamily="34" charset="0"/>
            </a:endParaRPr>
          </a:p>
        </p:txBody>
      </p:sp>
      <p:sp>
        <p:nvSpPr>
          <p:cNvPr id="3" name="Freeform 6">
            <a:extLst>
              <a:ext uri="{FF2B5EF4-FFF2-40B4-BE49-F238E27FC236}">
                <a16:creationId xmlns:a16="http://schemas.microsoft.com/office/drawing/2014/main" id="{53510DD2-B27A-B851-4D00-A28260270E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2" y="1837083"/>
            <a:ext cx="12099072" cy="4114097"/>
          </a:xfrm>
          <a:custGeom>
            <a:avLst/>
            <a:gdLst>
              <a:gd name="connsiteX0" fmla="*/ 5611814 w 24198144"/>
              <a:gd name="connsiteY0" fmla="*/ 8158021 h 8228193"/>
              <a:gd name="connsiteX1" fmla="*/ 5865935 w 24198144"/>
              <a:gd name="connsiteY1" fmla="*/ 8158021 h 8228193"/>
              <a:gd name="connsiteX2" fmla="*/ 5865935 w 24198144"/>
              <a:gd name="connsiteY2" fmla="*/ 8222700 h 8228193"/>
              <a:gd name="connsiteX3" fmla="*/ 5611814 w 24198144"/>
              <a:gd name="connsiteY3" fmla="*/ 8222700 h 8228193"/>
              <a:gd name="connsiteX4" fmla="*/ 9285671 w 24198144"/>
              <a:gd name="connsiteY4" fmla="*/ 8147343 h 8228193"/>
              <a:gd name="connsiteX5" fmla="*/ 9285671 w 24198144"/>
              <a:gd name="connsiteY5" fmla="*/ 8210481 h 8228193"/>
              <a:gd name="connsiteX6" fmla="*/ 9031504 w 24198144"/>
              <a:gd name="connsiteY6" fmla="*/ 8211719 h 8228193"/>
              <a:gd name="connsiteX7" fmla="*/ 9031504 w 24198144"/>
              <a:gd name="connsiteY7" fmla="*/ 8149819 h 8228193"/>
              <a:gd name="connsiteX8" fmla="*/ 9792756 w 24198144"/>
              <a:gd name="connsiteY8" fmla="*/ 8143629 h 8228193"/>
              <a:gd name="connsiteX9" fmla="*/ 9794002 w 24198144"/>
              <a:gd name="connsiteY9" fmla="*/ 8206767 h 8228193"/>
              <a:gd name="connsiteX10" fmla="*/ 9539836 w 24198144"/>
              <a:gd name="connsiteY10" fmla="*/ 8209243 h 8228193"/>
              <a:gd name="connsiteX11" fmla="*/ 9538590 w 24198144"/>
              <a:gd name="connsiteY11" fmla="*/ 8146105 h 8228193"/>
              <a:gd name="connsiteX12" fmla="*/ 10301089 w 24198144"/>
              <a:gd name="connsiteY12" fmla="*/ 8139915 h 8228193"/>
              <a:gd name="connsiteX13" fmla="*/ 10302334 w 24198144"/>
              <a:gd name="connsiteY13" fmla="*/ 8203053 h 8228193"/>
              <a:gd name="connsiteX14" fmla="*/ 10046922 w 24198144"/>
              <a:gd name="connsiteY14" fmla="*/ 8204291 h 8228193"/>
              <a:gd name="connsiteX15" fmla="*/ 10046922 w 24198144"/>
              <a:gd name="connsiteY15" fmla="*/ 8141153 h 8228193"/>
              <a:gd name="connsiteX16" fmla="*/ 14993353 w 24198144"/>
              <a:gd name="connsiteY16" fmla="*/ 8136356 h 8228193"/>
              <a:gd name="connsiteX17" fmla="*/ 14993353 w 24198144"/>
              <a:gd name="connsiteY17" fmla="*/ 8199494 h 8228193"/>
              <a:gd name="connsiteX18" fmla="*/ 14740624 w 24198144"/>
              <a:gd name="connsiteY18" fmla="*/ 8200732 h 8228193"/>
              <a:gd name="connsiteX19" fmla="*/ 14739379 w 24198144"/>
              <a:gd name="connsiteY19" fmla="*/ 8137594 h 8228193"/>
              <a:gd name="connsiteX20" fmla="*/ 10809420 w 24198144"/>
              <a:gd name="connsiteY20" fmla="*/ 8136201 h 8228193"/>
              <a:gd name="connsiteX21" fmla="*/ 10809420 w 24198144"/>
              <a:gd name="connsiteY21" fmla="*/ 8199339 h 8228193"/>
              <a:gd name="connsiteX22" fmla="*/ 10555254 w 24198144"/>
              <a:gd name="connsiteY22" fmla="*/ 8200577 h 8228193"/>
              <a:gd name="connsiteX23" fmla="*/ 10555254 w 24198144"/>
              <a:gd name="connsiteY23" fmla="*/ 8138677 h 8228193"/>
              <a:gd name="connsiteX24" fmla="*/ 15501301 w 24198144"/>
              <a:gd name="connsiteY24" fmla="*/ 8132642 h 8228193"/>
              <a:gd name="connsiteX25" fmla="*/ 15501301 w 24198144"/>
              <a:gd name="connsiteY25" fmla="*/ 8195780 h 8228193"/>
              <a:gd name="connsiteX26" fmla="*/ 15248572 w 24198144"/>
              <a:gd name="connsiteY26" fmla="*/ 8197018 h 8228193"/>
              <a:gd name="connsiteX27" fmla="*/ 15247327 w 24198144"/>
              <a:gd name="connsiteY27" fmla="*/ 8133880 h 8228193"/>
              <a:gd name="connsiteX28" fmla="*/ 11316507 w 24198144"/>
              <a:gd name="connsiteY28" fmla="*/ 8132487 h 8228193"/>
              <a:gd name="connsiteX29" fmla="*/ 11317754 w 24198144"/>
              <a:gd name="connsiteY29" fmla="*/ 8195625 h 8228193"/>
              <a:gd name="connsiteX30" fmla="*/ 11063587 w 24198144"/>
              <a:gd name="connsiteY30" fmla="*/ 8196863 h 8228193"/>
              <a:gd name="connsiteX31" fmla="*/ 11063587 w 24198144"/>
              <a:gd name="connsiteY31" fmla="*/ 8133725 h 8228193"/>
              <a:gd name="connsiteX32" fmla="*/ 16009249 w 24198144"/>
              <a:gd name="connsiteY32" fmla="*/ 8128928 h 8228193"/>
              <a:gd name="connsiteX33" fmla="*/ 16009249 w 24198144"/>
              <a:gd name="connsiteY33" fmla="*/ 8192066 h 8228193"/>
              <a:gd name="connsiteX34" fmla="*/ 15755275 w 24198144"/>
              <a:gd name="connsiteY34" fmla="*/ 8193304 h 8228193"/>
              <a:gd name="connsiteX35" fmla="*/ 15755275 w 24198144"/>
              <a:gd name="connsiteY35" fmla="*/ 8130166 h 8228193"/>
              <a:gd name="connsiteX36" fmla="*/ 11824839 w 24198144"/>
              <a:gd name="connsiteY36" fmla="*/ 8128773 h 8228193"/>
              <a:gd name="connsiteX37" fmla="*/ 11826085 w 24198144"/>
              <a:gd name="connsiteY37" fmla="*/ 8191911 h 8228193"/>
              <a:gd name="connsiteX38" fmla="*/ 11570673 w 24198144"/>
              <a:gd name="connsiteY38" fmla="*/ 8193149 h 8228193"/>
              <a:gd name="connsiteX39" fmla="*/ 11570673 w 24198144"/>
              <a:gd name="connsiteY39" fmla="*/ 8131249 h 8228193"/>
              <a:gd name="connsiteX40" fmla="*/ 16517198 w 24198144"/>
              <a:gd name="connsiteY40" fmla="*/ 8125214 h 8228193"/>
              <a:gd name="connsiteX41" fmla="*/ 16517198 w 24198144"/>
              <a:gd name="connsiteY41" fmla="*/ 8188352 h 8228193"/>
              <a:gd name="connsiteX42" fmla="*/ 16263224 w 24198144"/>
              <a:gd name="connsiteY42" fmla="*/ 8190828 h 8228193"/>
              <a:gd name="connsiteX43" fmla="*/ 16261978 w 24198144"/>
              <a:gd name="connsiteY43" fmla="*/ 8126452 h 8228193"/>
              <a:gd name="connsiteX44" fmla="*/ 23942924 w 24198144"/>
              <a:gd name="connsiteY44" fmla="*/ 8125059 h 8228193"/>
              <a:gd name="connsiteX45" fmla="*/ 24198144 w 24198144"/>
              <a:gd name="connsiteY45" fmla="*/ 8125059 h 8228193"/>
              <a:gd name="connsiteX46" fmla="*/ 24198144 w 24198144"/>
              <a:gd name="connsiteY46" fmla="*/ 8189714 h 8228193"/>
              <a:gd name="connsiteX47" fmla="*/ 23942924 w 24198144"/>
              <a:gd name="connsiteY47" fmla="*/ 8189714 h 8228193"/>
              <a:gd name="connsiteX48" fmla="*/ 23436220 w 24198144"/>
              <a:gd name="connsiteY48" fmla="*/ 8125059 h 8228193"/>
              <a:gd name="connsiteX49" fmla="*/ 23690194 w 24198144"/>
              <a:gd name="connsiteY49" fmla="*/ 8125059 h 8228193"/>
              <a:gd name="connsiteX50" fmla="*/ 23690194 w 24198144"/>
              <a:gd name="connsiteY50" fmla="*/ 8189714 h 8228193"/>
              <a:gd name="connsiteX51" fmla="*/ 23436220 w 24198144"/>
              <a:gd name="connsiteY51" fmla="*/ 8189714 h 8228193"/>
              <a:gd name="connsiteX52" fmla="*/ 22928272 w 24198144"/>
              <a:gd name="connsiteY52" fmla="*/ 8125059 h 8228193"/>
              <a:gd name="connsiteX53" fmla="*/ 23182246 w 24198144"/>
              <a:gd name="connsiteY53" fmla="*/ 8125059 h 8228193"/>
              <a:gd name="connsiteX54" fmla="*/ 23182246 w 24198144"/>
              <a:gd name="connsiteY54" fmla="*/ 8189714 h 8228193"/>
              <a:gd name="connsiteX55" fmla="*/ 22928272 w 24198144"/>
              <a:gd name="connsiteY55" fmla="*/ 8189714 h 8228193"/>
              <a:gd name="connsiteX56" fmla="*/ 22420322 w 24198144"/>
              <a:gd name="connsiteY56" fmla="*/ 8125059 h 8228193"/>
              <a:gd name="connsiteX57" fmla="*/ 22675542 w 24198144"/>
              <a:gd name="connsiteY57" fmla="*/ 8125059 h 8228193"/>
              <a:gd name="connsiteX58" fmla="*/ 22675542 w 24198144"/>
              <a:gd name="connsiteY58" fmla="*/ 8189714 h 8228193"/>
              <a:gd name="connsiteX59" fmla="*/ 22420322 w 24198144"/>
              <a:gd name="connsiteY59" fmla="*/ 8189714 h 8228193"/>
              <a:gd name="connsiteX60" fmla="*/ 21913618 w 24198144"/>
              <a:gd name="connsiteY60" fmla="*/ 8125059 h 8228193"/>
              <a:gd name="connsiteX61" fmla="*/ 22167592 w 24198144"/>
              <a:gd name="connsiteY61" fmla="*/ 8125059 h 8228193"/>
              <a:gd name="connsiteX62" fmla="*/ 22167592 w 24198144"/>
              <a:gd name="connsiteY62" fmla="*/ 8189714 h 8228193"/>
              <a:gd name="connsiteX63" fmla="*/ 21913618 w 24198144"/>
              <a:gd name="connsiteY63" fmla="*/ 8189714 h 8228193"/>
              <a:gd name="connsiteX64" fmla="*/ 21405670 w 24198144"/>
              <a:gd name="connsiteY64" fmla="*/ 8125059 h 8228193"/>
              <a:gd name="connsiteX65" fmla="*/ 21659644 w 24198144"/>
              <a:gd name="connsiteY65" fmla="*/ 8125059 h 8228193"/>
              <a:gd name="connsiteX66" fmla="*/ 21659644 w 24198144"/>
              <a:gd name="connsiteY66" fmla="*/ 8189714 h 8228193"/>
              <a:gd name="connsiteX67" fmla="*/ 21405670 w 24198144"/>
              <a:gd name="connsiteY67" fmla="*/ 8189714 h 8228193"/>
              <a:gd name="connsiteX68" fmla="*/ 20897720 w 24198144"/>
              <a:gd name="connsiteY68" fmla="*/ 8125059 h 8228193"/>
              <a:gd name="connsiteX69" fmla="*/ 21151696 w 24198144"/>
              <a:gd name="connsiteY69" fmla="*/ 8125059 h 8228193"/>
              <a:gd name="connsiteX70" fmla="*/ 21151696 w 24198144"/>
              <a:gd name="connsiteY70" fmla="*/ 8189714 h 8228193"/>
              <a:gd name="connsiteX71" fmla="*/ 20897720 w 24198144"/>
              <a:gd name="connsiteY71" fmla="*/ 8189714 h 8228193"/>
              <a:gd name="connsiteX72" fmla="*/ 12331925 w 24198144"/>
              <a:gd name="connsiteY72" fmla="*/ 8125059 h 8228193"/>
              <a:gd name="connsiteX73" fmla="*/ 12331925 w 24198144"/>
              <a:gd name="connsiteY73" fmla="*/ 8188197 h 8228193"/>
              <a:gd name="connsiteX74" fmla="*/ 12079005 w 24198144"/>
              <a:gd name="connsiteY74" fmla="*/ 8189435 h 8228193"/>
              <a:gd name="connsiteX75" fmla="*/ 12079005 w 24198144"/>
              <a:gd name="connsiteY75" fmla="*/ 8126297 h 8228193"/>
              <a:gd name="connsiteX76" fmla="*/ 17023900 w 24198144"/>
              <a:gd name="connsiteY76" fmla="*/ 8121500 h 8228193"/>
              <a:gd name="connsiteX77" fmla="*/ 17025146 w 24198144"/>
              <a:gd name="connsiteY77" fmla="*/ 8184638 h 8228193"/>
              <a:gd name="connsiteX78" fmla="*/ 16771172 w 24198144"/>
              <a:gd name="connsiteY78" fmla="*/ 8185876 h 8228193"/>
              <a:gd name="connsiteX79" fmla="*/ 16769927 w 24198144"/>
              <a:gd name="connsiteY79" fmla="*/ 8122738 h 8228193"/>
              <a:gd name="connsiteX80" fmla="*/ 17531848 w 24198144"/>
              <a:gd name="connsiteY80" fmla="*/ 8117786 h 8228193"/>
              <a:gd name="connsiteX81" fmla="*/ 17531848 w 24198144"/>
              <a:gd name="connsiteY81" fmla="*/ 8180924 h 8228193"/>
              <a:gd name="connsiteX82" fmla="*/ 17277874 w 24198144"/>
              <a:gd name="connsiteY82" fmla="*/ 8182162 h 8228193"/>
              <a:gd name="connsiteX83" fmla="*/ 17277874 w 24198144"/>
              <a:gd name="connsiteY83" fmla="*/ 8119024 h 8228193"/>
              <a:gd name="connsiteX84" fmla="*/ 18039796 w 24198144"/>
              <a:gd name="connsiteY84" fmla="*/ 8114072 h 8228193"/>
              <a:gd name="connsiteX85" fmla="*/ 18039796 w 24198144"/>
              <a:gd name="connsiteY85" fmla="*/ 8177210 h 8228193"/>
              <a:gd name="connsiteX86" fmla="*/ 17785824 w 24198144"/>
              <a:gd name="connsiteY86" fmla="*/ 8178448 h 8228193"/>
              <a:gd name="connsiteX87" fmla="*/ 17785824 w 24198144"/>
              <a:gd name="connsiteY87" fmla="*/ 8115310 h 8228193"/>
              <a:gd name="connsiteX88" fmla="*/ 18728390 w 24198144"/>
              <a:gd name="connsiteY88" fmla="*/ 4048795 h 8228193"/>
              <a:gd name="connsiteX89" fmla="*/ 18983784 w 24198144"/>
              <a:gd name="connsiteY89" fmla="*/ 4048795 h 8228193"/>
              <a:gd name="connsiteX90" fmla="*/ 18983784 w 24198144"/>
              <a:gd name="connsiteY90" fmla="*/ 4113426 h 8228193"/>
              <a:gd name="connsiteX91" fmla="*/ 18728390 w 24198144"/>
              <a:gd name="connsiteY91" fmla="*/ 4113426 h 8228193"/>
              <a:gd name="connsiteX92" fmla="*/ 18221342 w 24198144"/>
              <a:gd name="connsiteY92" fmla="*/ 4048795 h 8228193"/>
              <a:gd name="connsiteX93" fmla="*/ 18475488 w 24198144"/>
              <a:gd name="connsiteY93" fmla="*/ 4048795 h 8228193"/>
              <a:gd name="connsiteX94" fmla="*/ 18475488 w 24198144"/>
              <a:gd name="connsiteY94" fmla="*/ 4113426 h 8228193"/>
              <a:gd name="connsiteX95" fmla="*/ 18221342 w 24198144"/>
              <a:gd name="connsiteY95" fmla="*/ 4113426 h 8228193"/>
              <a:gd name="connsiteX96" fmla="*/ 17713048 w 24198144"/>
              <a:gd name="connsiteY96" fmla="*/ 4048795 h 8228193"/>
              <a:gd name="connsiteX97" fmla="*/ 17967196 w 24198144"/>
              <a:gd name="connsiteY97" fmla="*/ 4048795 h 8228193"/>
              <a:gd name="connsiteX98" fmla="*/ 17967196 w 24198144"/>
              <a:gd name="connsiteY98" fmla="*/ 4113426 h 8228193"/>
              <a:gd name="connsiteX99" fmla="*/ 17713048 w 24198144"/>
              <a:gd name="connsiteY99" fmla="*/ 4113426 h 8228193"/>
              <a:gd name="connsiteX100" fmla="*/ 17204754 w 24198144"/>
              <a:gd name="connsiteY100" fmla="*/ 4048795 h 8228193"/>
              <a:gd name="connsiteX101" fmla="*/ 17458900 w 24198144"/>
              <a:gd name="connsiteY101" fmla="*/ 4048795 h 8228193"/>
              <a:gd name="connsiteX102" fmla="*/ 17458900 w 24198144"/>
              <a:gd name="connsiteY102" fmla="*/ 4113426 h 8228193"/>
              <a:gd name="connsiteX103" fmla="*/ 17204754 w 24198144"/>
              <a:gd name="connsiteY103" fmla="*/ 4113426 h 8228193"/>
              <a:gd name="connsiteX104" fmla="*/ 16697706 w 24198144"/>
              <a:gd name="connsiteY104" fmla="*/ 4048795 h 8228193"/>
              <a:gd name="connsiteX105" fmla="*/ 16951852 w 24198144"/>
              <a:gd name="connsiteY105" fmla="*/ 4048795 h 8228193"/>
              <a:gd name="connsiteX106" fmla="*/ 16951852 w 24198144"/>
              <a:gd name="connsiteY106" fmla="*/ 4113426 h 8228193"/>
              <a:gd name="connsiteX107" fmla="*/ 16697706 w 24198144"/>
              <a:gd name="connsiteY107" fmla="*/ 4113426 h 8228193"/>
              <a:gd name="connsiteX108" fmla="*/ 16189413 w 24198144"/>
              <a:gd name="connsiteY108" fmla="*/ 4048795 h 8228193"/>
              <a:gd name="connsiteX109" fmla="*/ 16443560 w 24198144"/>
              <a:gd name="connsiteY109" fmla="*/ 4048795 h 8228193"/>
              <a:gd name="connsiteX110" fmla="*/ 16443560 w 24198144"/>
              <a:gd name="connsiteY110" fmla="*/ 4113426 h 8228193"/>
              <a:gd name="connsiteX111" fmla="*/ 16189413 w 24198144"/>
              <a:gd name="connsiteY111" fmla="*/ 4113426 h 8228193"/>
              <a:gd name="connsiteX112" fmla="*/ 15681119 w 24198144"/>
              <a:gd name="connsiteY112" fmla="*/ 4048795 h 8228193"/>
              <a:gd name="connsiteX113" fmla="*/ 15935266 w 24198144"/>
              <a:gd name="connsiteY113" fmla="*/ 4048795 h 8228193"/>
              <a:gd name="connsiteX114" fmla="*/ 15935266 w 24198144"/>
              <a:gd name="connsiteY114" fmla="*/ 4113426 h 8228193"/>
              <a:gd name="connsiteX115" fmla="*/ 15681119 w 24198144"/>
              <a:gd name="connsiteY115" fmla="*/ 4113426 h 8228193"/>
              <a:gd name="connsiteX116" fmla="*/ 15174071 w 24198144"/>
              <a:gd name="connsiteY116" fmla="*/ 4048795 h 8228193"/>
              <a:gd name="connsiteX117" fmla="*/ 15426972 w 24198144"/>
              <a:gd name="connsiteY117" fmla="*/ 4048795 h 8228193"/>
              <a:gd name="connsiteX118" fmla="*/ 15426972 w 24198144"/>
              <a:gd name="connsiteY118" fmla="*/ 4113426 h 8228193"/>
              <a:gd name="connsiteX119" fmla="*/ 15174071 w 24198144"/>
              <a:gd name="connsiteY119" fmla="*/ 4113426 h 8228193"/>
              <a:gd name="connsiteX120" fmla="*/ 14665777 w 24198144"/>
              <a:gd name="connsiteY120" fmla="*/ 4048795 h 8228193"/>
              <a:gd name="connsiteX121" fmla="*/ 14918678 w 24198144"/>
              <a:gd name="connsiteY121" fmla="*/ 4048795 h 8228193"/>
              <a:gd name="connsiteX122" fmla="*/ 14918678 w 24198144"/>
              <a:gd name="connsiteY122" fmla="*/ 4113426 h 8228193"/>
              <a:gd name="connsiteX123" fmla="*/ 14665777 w 24198144"/>
              <a:gd name="connsiteY123" fmla="*/ 4113426 h 8228193"/>
              <a:gd name="connsiteX124" fmla="*/ 14157483 w 24198144"/>
              <a:gd name="connsiteY124" fmla="*/ 4048795 h 8228193"/>
              <a:gd name="connsiteX125" fmla="*/ 14411630 w 24198144"/>
              <a:gd name="connsiteY125" fmla="*/ 4048795 h 8228193"/>
              <a:gd name="connsiteX126" fmla="*/ 14411630 w 24198144"/>
              <a:gd name="connsiteY126" fmla="*/ 4113426 h 8228193"/>
              <a:gd name="connsiteX127" fmla="*/ 14157483 w 24198144"/>
              <a:gd name="connsiteY127" fmla="*/ 4113426 h 8228193"/>
              <a:gd name="connsiteX128" fmla="*/ 13649190 w 24198144"/>
              <a:gd name="connsiteY128" fmla="*/ 4048795 h 8228193"/>
              <a:gd name="connsiteX129" fmla="*/ 13903336 w 24198144"/>
              <a:gd name="connsiteY129" fmla="*/ 4048795 h 8228193"/>
              <a:gd name="connsiteX130" fmla="*/ 13903336 w 24198144"/>
              <a:gd name="connsiteY130" fmla="*/ 4113426 h 8228193"/>
              <a:gd name="connsiteX131" fmla="*/ 13649190 w 24198144"/>
              <a:gd name="connsiteY131" fmla="*/ 4113426 h 8228193"/>
              <a:gd name="connsiteX132" fmla="*/ 13142142 w 24198144"/>
              <a:gd name="connsiteY132" fmla="*/ 4048795 h 8228193"/>
              <a:gd name="connsiteX133" fmla="*/ 13395042 w 24198144"/>
              <a:gd name="connsiteY133" fmla="*/ 4048795 h 8228193"/>
              <a:gd name="connsiteX134" fmla="*/ 13395042 w 24198144"/>
              <a:gd name="connsiteY134" fmla="*/ 4113426 h 8228193"/>
              <a:gd name="connsiteX135" fmla="*/ 13142142 w 24198144"/>
              <a:gd name="connsiteY135" fmla="*/ 4113426 h 8228193"/>
              <a:gd name="connsiteX136" fmla="*/ 12633848 w 24198144"/>
              <a:gd name="connsiteY136" fmla="*/ 4048795 h 8228193"/>
              <a:gd name="connsiteX137" fmla="*/ 12887994 w 24198144"/>
              <a:gd name="connsiteY137" fmla="*/ 4048795 h 8228193"/>
              <a:gd name="connsiteX138" fmla="*/ 12887994 w 24198144"/>
              <a:gd name="connsiteY138" fmla="*/ 4113426 h 8228193"/>
              <a:gd name="connsiteX139" fmla="*/ 12633848 w 24198144"/>
              <a:gd name="connsiteY139" fmla="*/ 4113426 h 8228193"/>
              <a:gd name="connsiteX140" fmla="*/ 12126800 w 24198144"/>
              <a:gd name="connsiteY140" fmla="*/ 4048795 h 8228193"/>
              <a:gd name="connsiteX141" fmla="*/ 12379701 w 24198144"/>
              <a:gd name="connsiteY141" fmla="*/ 4048795 h 8228193"/>
              <a:gd name="connsiteX142" fmla="*/ 12379701 w 24198144"/>
              <a:gd name="connsiteY142" fmla="*/ 4113426 h 8228193"/>
              <a:gd name="connsiteX143" fmla="*/ 12126800 w 24198144"/>
              <a:gd name="connsiteY143" fmla="*/ 4113426 h 8228193"/>
              <a:gd name="connsiteX144" fmla="*/ 11618506 w 24198144"/>
              <a:gd name="connsiteY144" fmla="*/ 4048795 h 8228193"/>
              <a:gd name="connsiteX145" fmla="*/ 11872653 w 24198144"/>
              <a:gd name="connsiteY145" fmla="*/ 4048795 h 8228193"/>
              <a:gd name="connsiteX146" fmla="*/ 11872653 w 24198144"/>
              <a:gd name="connsiteY146" fmla="*/ 4113426 h 8228193"/>
              <a:gd name="connsiteX147" fmla="*/ 11618506 w 24198144"/>
              <a:gd name="connsiteY147" fmla="*/ 4113426 h 8228193"/>
              <a:gd name="connsiteX148" fmla="*/ 11111458 w 24198144"/>
              <a:gd name="connsiteY148" fmla="*/ 4048795 h 8228193"/>
              <a:gd name="connsiteX149" fmla="*/ 11365605 w 24198144"/>
              <a:gd name="connsiteY149" fmla="*/ 4048795 h 8228193"/>
              <a:gd name="connsiteX150" fmla="*/ 11365605 w 24198144"/>
              <a:gd name="connsiteY150" fmla="*/ 4113426 h 8228193"/>
              <a:gd name="connsiteX151" fmla="*/ 11111458 w 24198144"/>
              <a:gd name="connsiteY151" fmla="*/ 4113426 h 8228193"/>
              <a:gd name="connsiteX152" fmla="*/ 10603164 w 24198144"/>
              <a:gd name="connsiteY152" fmla="*/ 4048795 h 8228193"/>
              <a:gd name="connsiteX153" fmla="*/ 10857311 w 24198144"/>
              <a:gd name="connsiteY153" fmla="*/ 4048795 h 8228193"/>
              <a:gd name="connsiteX154" fmla="*/ 10857311 w 24198144"/>
              <a:gd name="connsiteY154" fmla="*/ 4113426 h 8228193"/>
              <a:gd name="connsiteX155" fmla="*/ 10603164 w 24198144"/>
              <a:gd name="connsiteY155" fmla="*/ 4113426 h 8228193"/>
              <a:gd name="connsiteX156" fmla="*/ 10094871 w 24198144"/>
              <a:gd name="connsiteY156" fmla="*/ 4048795 h 8228193"/>
              <a:gd name="connsiteX157" fmla="*/ 10349018 w 24198144"/>
              <a:gd name="connsiteY157" fmla="*/ 4048795 h 8228193"/>
              <a:gd name="connsiteX158" fmla="*/ 10349018 w 24198144"/>
              <a:gd name="connsiteY158" fmla="*/ 4113426 h 8228193"/>
              <a:gd name="connsiteX159" fmla="*/ 10094871 w 24198144"/>
              <a:gd name="connsiteY159" fmla="*/ 4113426 h 8228193"/>
              <a:gd name="connsiteX160" fmla="*/ 9586576 w 24198144"/>
              <a:gd name="connsiteY160" fmla="*/ 4048795 h 8228193"/>
              <a:gd name="connsiteX161" fmla="*/ 9841970 w 24198144"/>
              <a:gd name="connsiteY161" fmla="*/ 4048795 h 8228193"/>
              <a:gd name="connsiteX162" fmla="*/ 9841970 w 24198144"/>
              <a:gd name="connsiteY162" fmla="*/ 4113426 h 8228193"/>
              <a:gd name="connsiteX163" fmla="*/ 9586576 w 24198144"/>
              <a:gd name="connsiteY163" fmla="*/ 4113426 h 8228193"/>
              <a:gd name="connsiteX164" fmla="*/ 9079529 w 24198144"/>
              <a:gd name="connsiteY164" fmla="*/ 4048795 h 8228193"/>
              <a:gd name="connsiteX165" fmla="*/ 9333676 w 24198144"/>
              <a:gd name="connsiteY165" fmla="*/ 4048795 h 8228193"/>
              <a:gd name="connsiteX166" fmla="*/ 9333676 w 24198144"/>
              <a:gd name="connsiteY166" fmla="*/ 4113426 h 8228193"/>
              <a:gd name="connsiteX167" fmla="*/ 9079529 w 24198144"/>
              <a:gd name="connsiteY167" fmla="*/ 4113426 h 8228193"/>
              <a:gd name="connsiteX168" fmla="*/ 8571235 w 24198144"/>
              <a:gd name="connsiteY168" fmla="*/ 4048795 h 8228193"/>
              <a:gd name="connsiteX169" fmla="*/ 8825383 w 24198144"/>
              <a:gd name="connsiteY169" fmla="*/ 4048795 h 8228193"/>
              <a:gd name="connsiteX170" fmla="*/ 8825383 w 24198144"/>
              <a:gd name="connsiteY170" fmla="*/ 4113426 h 8228193"/>
              <a:gd name="connsiteX171" fmla="*/ 8571235 w 24198144"/>
              <a:gd name="connsiteY171" fmla="*/ 4113426 h 8228193"/>
              <a:gd name="connsiteX172" fmla="*/ 8062944 w 24198144"/>
              <a:gd name="connsiteY172" fmla="*/ 4048795 h 8228193"/>
              <a:gd name="connsiteX173" fmla="*/ 8317091 w 24198144"/>
              <a:gd name="connsiteY173" fmla="*/ 4048795 h 8228193"/>
              <a:gd name="connsiteX174" fmla="*/ 8317091 w 24198144"/>
              <a:gd name="connsiteY174" fmla="*/ 4113426 h 8228193"/>
              <a:gd name="connsiteX175" fmla="*/ 8062944 w 24198144"/>
              <a:gd name="connsiteY175" fmla="*/ 4113426 h 8228193"/>
              <a:gd name="connsiteX176" fmla="*/ 7555896 w 24198144"/>
              <a:gd name="connsiteY176" fmla="*/ 4048795 h 8228193"/>
              <a:gd name="connsiteX177" fmla="*/ 7810042 w 24198144"/>
              <a:gd name="connsiteY177" fmla="*/ 4048795 h 8228193"/>
              <a:gd name="connsiteX178" fmla="*/ 7810042 w 24198144"/>
              <a:gd name="connsiteY178" fmla="*/ 4113426 h 8228193"/>
              <a:gd name="connsiteX179" fmla="*/ 7555896 w 24198144"/>
              <a:gd name="connsiteY179" fmla="*/ 4113426 h 8228193"/>
              <a:gd name="connsiteX180" fmla="*/ 7047602 w 24198144"/>
              <a:gd name="connsiteY180" fmla="*/ 4048795 h 8228193"/>
              <a:gd name="connsiteX181" fmla="*/ 7301749 w 24198144"/>
              <a:gd name="connsiteY181" fmla="*/ 4048795 h 8228193"/>
              <a:gd name="connsiteX182" fmla="*/ 7301749 w 24198144"/>
              <a:gd name="connsiteY182" fmla="*/ 4113426 h 8228193"/>
              <a:gd name="connsiteX183" fmla="*/ 7047602 w 24198144"/>
              <a:gd name="connsiteY183" fmla="*/ 4113426 h 8228193"/>
              <a:gd name="connsiteX184" fmla="*/ 6539309 w 24198144"/>
              <a:gd name="connsiteY184" fmla="*/ 4048795 h 8228193"/>
              <a:gd name="connsiteX185" fmla="*/ 6793455 w 24198144"/>
              <a:gd name="connsiteY185" fmla="*/ 4048795 h 8228193"/>
              <a:gd name="connsiteX186" fmla="*/ 6793455 w 24198144"/>
              <a:gd name="connsiteY186" fmla="*/ 4113426 h 8228193"/>
              <a:gd name="connsiteX187" fmla="*/ 6539309 w 24198144"/>
              <a:gd name="connsiteY187" fmla="*/ 4113426 h 8228193"/>
              <a:gd name="connsiteX188" fmla="*/ 6032260 w 24198144"/>
              <a:gd name="connsiteY188" fmla="*/ 4048795 h 8228193"/>
              <a:gd name="connsiteX189" fmla="*/ 6285161 w 24198144"/>
              <a:gd name="connsiteY189" fmla="*/ 4048795 h 8228193"/>
              <a:gd name="connsiteX190" fmla="*/ 6285161 w 24198144"/>
              <a:gd name="connsiteY190" fmla="*/ 4113426 h 8228193"/>
              <a:gd name="connsiteX191" fmla="*/ 6032260 w 24198144"/>
              <a:gd name="connsiteY191" fmla="*/ 4113426 h 8228193"/>
              <a:gd name="connsiteX192" fmla="*/ 5523967 w 24198144"/>
              <a:gd name="connsiteY192" fmla="*/ 4048795 h 8228193"/>
              <a:gd name="connsiteX193" fmla="*/ 5776867 w 24198144"/>
              <a:gd name="connsiteY193" fmla="*/ 4048795 h 8228193"/>
              <a:gd name="connsiteX194" fmla="*/ 5776867 w 24198144"/>
              <a:gd name="connsiteY194" fmla="*/ 4113426 h 8228193"/>
              <a:gd name="connsiteX195" fmla="*/ 5523967 w 24198144"/>
              <a:gd name="connsiteY195" fmla="*/ 4113426 h 8228193"/>
              <a:gd name="connsiteX196" fmla="*/ 5015673 w 24198144"/>
              <a:gd name="connsiteY196" fmla="*/ 4048795 h 8228193"/>
              <a:gd name="connsiteX197" fmla="*/ 5179238 w 24198144"/>
              <a:gd name="connsiteY197" fmla="*/ 4048795 h 8228193"/>
              <a:gd name="connsiteX198" fmla="*/ 5269820 w 24198144"/>
              <a:gd name="connsiteY198" fmla="*/ 4048795 h 8228193"/>
              <a:gd name="connsiteX199" fmla="*/ 5269820 w 24198144"/>
              <a:gd name="connsiteY199" fmla="*/ 4113426 h 8228193"/>
              <a:gd name="connsiteX200" fmla="*/ 5135565 w 24198144"/>
              <a:gd name="connsiteY200" fmla="*/ 4113426 h 8228193"/>
              <a:gd name="connsiteX201" fmla="*/ 4997845 w 24198144"/>
              <a:gd name="connsiteY201" fmla="*/ 4120701 h 8228193"/>
              <a:gd name="connsiteX202" fmla="*/ 4473764 w 24198144"/>
              <a:gd name="connsiteY202" fmla="*/ 4264434 h 8228193"/>
              <a:gd name="connsiteX203" fmla="*/ 3876728 w 24198144"/>
              <a:gd name="connsiteY203" fmla="*/ 4704436 h 8228193"/>
              <a:gd name="connsiteX204" fmla="*/ 3476627 w 24198144"/>
              <a:gd name="connsiteY204" fmla="*/ 5361323 h 8228193"/>
              <a:gd name="connsiteX205" fmla="*/ 3337028 w 24198144"/>
              <a:gd name="connsiteY205" fmla="*/ 6137871 h 8228193"/>
              <a:gd name="connsiteX206" fmla="*/ 3476627 w 24198144"/>
              <a:gd name="connsiteY206" fmla="*/ 6914419 h 8228193"/>
              <a:gd name="connsiteX207" fmla="*/ 3876728 w 24198144"/>
              <a:gd name="connsiteY207" fmla="*/ 7571306 h 8228193"/>
              <a:gd name="connsiteX208" fmla="*/ 4473764 w 24198144"/>
              <a:gd name="connsiteY208" fmla="*/ 8011309 h 8228193"/>
              <a:gd name="connsiteX209" fmla="*/ 4997845 w 24198144"/>
              <a:gd name="connsiteY209" fmla="*/ 8155042 h 8228193"/>
              <a:gd name="connsiteX210" fmla="*/ 5103570 w 24198144"/>
              <a:gd name="connsiteY210" fmla="*/ 8160627 h 8228193"/>
              <a:gd name="connsiteX211" fmla="*/ 5103570 w 24198144"/>
              <a:gd name="connsiteY211" fmla="*/ 8158021 h 8228193"/>
              <a:gd name="connsiteX212" fmla="*/ 5357691 w 24198144"/>
              <a:gd name="connsiteY212" fmla="*/ 8158021 h 8228193"/>
              <a:gd name="connsiteX213" fmla="*/ 5357691 w 24198144"/>
              <a:gd name="connsiteY213" fmla="*/ 8222700 h 8228193"/>
              <a:gd name="connsiteX214" fmla="*/ 5179238 w 24198144"/>
              <a:gd name="connsiteY214" fmla="*/ 8222700 h 8228193"/>
              <a:gd name="connsiteX215" fmla="*/ 5179238 w 24198144"/>
              <a:gd name="connsiteY215" fmla="*/ 8228193 h 8228193"/>
              <a:gd name="connsiteX216" fmla="*/ 4451329 w 24198144"/>
              <a:gd name="connsiteY216" fmla="*/ 8068646 h 8228193"/>
              <a:gd name="connsiteX217" fmla="*/ 3835596 w 24198144"/>
              <a:gd name="connsiteY217" fmla="*/ 7616179 h 8228193"/>
              <a:gd name="connsiteX218" fmla="*/ 3424277 w 24198144"/>
              <a:gd name="connsiteY218" fmla="*/ 6938102 h 8228193"/>
              <a:gd name="connsiteX219" fmla="*/ 3279693 w 24198144"/>
              <a:gd name="connsiteY219" fmla="*/ 6137871 h 8228193"/>
              <a:gd name="connsiteX220" fmla="*/ 3424277 w 24198144"/>
              <a:gd name="connsiteY220" fmla="*/ 5337640 h 8228193"/>
              <a:gd name="connsiteX221" fmla="*/ 3835596 w 24198144"/>
              <a:gd name="connsiteY221" fmla="*/ 4659563 h 8228193"/>
              <a:gd name="connsiteX222" fmla="*/ 4451329 w 24198144"/>
              <a:gd name="connsiteY222" fmla="*/ 4207096 h 8228193"/>
              <a:gd name="connsiteX223" fmla="*/ 4992235 w 24198144"/>
              <a:gd name="connsiteY223" fmla="*/ 4058806 h 8228193"/>
              <a:gd name="connsiteX224" fmla="*/ 5015673 w 24198144"/>
              <a:gd name="connsiteY224" fmla="*/ 4057552 h 8228193"/>
              <a:gd name="connsiteX225" fmla="*/ 19244148 w 24198144"/>
              <a:gd name="connsiteY225" fmla="*/ 4 h 8228193"/>
              <a:gd name="connsiteX226" fmla="*/ 19972056 w 24198144"/>
              <a:gd name="connsiteY226" fmla="*/ 155770 h 8228193"/>
              <a:gd name="connsiteX227" fmla="*/ 20587788 w 24198144"/>
              <a:gd name="connsiteY227" fmla="*/ 601884 h 8228193"/>
              <a:gd name="connsiteX228" fmla="*/ 20999108 w 24198144"/>
              <a:gd name="connsiteY228" fmla="*/ 1269810 h 8228193"/>
              <a:gd name="connsiteX229" fmla="*/ 21143692 w 24198144"/>
              <a:gd name="connsiteY229" fmla="*/ 2057363 h 8228193"/>
              <a:gd name="connsiteX230" fmla="*/ 20999108 w 24198144"/>
              <a:gd name="connsiteY230" fmla="*/ 2844916 h 8228193"/>
              <a:gd name="connsiteX231" fmla="*/ 20587788 w 24198144"/>
              <a:gd name="connsiteY231" fmla="*/ 3512842 h 8228193"/>
              <a:gd name="connsiteX232" fmla="*/ 19972056 w 24198144"/>
              <a:gd name="connsiteY232" fmla="*/ 3957710 h 8228193"/>
              <a:gd name="connsiteX233" fmla="*/ 19430448 w 24198144"/>
              <a:gd name="connsiteY233" fmla="*/ 4103858 h 8228193"/>
              <a:gd name="connsiteX234" fmla="*/ 19363756 w 24198144"/>
              <a:gd name="connsiteY234" fmla="*/ 4107301 h 8228193"/>
              <a:gd name="connsiteX235" fmla="*/ 19363756 w 24198144"/>
              <a:gd name="connsiteY235" fmla="*/ 4113426 h 8228193"/>
              <a:gd name="connsiteX236" fmla="*/ 19245126 w 24198144"/>
              <a:gd name="connsiteY236" fmla="*/ 4113426 h 8228193"/>
              <a:gd name="connsiteX237" fmla="*/ 19244148 w 24198144"/>
              <a:gd name="connsiteY237" fmla="*/ 4113476 h 8228193"/>
              <a:gd name="connsiteX238" fmla="*/ 19244148 w 24198144"/>
              <a:gd name="connsiteY238" fmla="*/ 4113426 h 8228193"/>
              <a:gd name="connsiteX239" fmla="*/ 19236684 w 24198144"/>
              <a:gd name="connsiteY239" fmla="*/ 4113426 h 8228193"/>
              <a:gd name="connsiteX240" fmla="*/ 19236684 w 24198144"/>
              <a:gd name="connsiteY240" fmla="*/ 4048795 h 8228193"/>
              <a:gd name="connsiteX241" fmla="*/ 19334386 w 24198144"/>
              <a:gd name="connsiteY241" fmla="*/ 4048795 h 8228193"/>
              <a:gd name="connsiteX242" fmla="*/ 19425014 w 24198144"/>
              <a:gd name="connsiteY242" fmla="*/ 4043907 h 8228193"/>
              <a:gd name="connsiteX243" fmla="*/ 19949622 w 24198144"/>
              <a:gd name="connsiteY243" fmla="*/ 3900388 h 8228193"/>
              <a:gd name="connsiteX244" fmla="*/ 20546656 w 24198144"/>
              <a:gd name="connsiteY244" fmla="*/ 3469227 h 8228193"/>
              <a:gd name="connsiteX245" fmla="*/ 20946758 w 24198144"/>
              <a:gd name="connsiteY245" fmla="*/ 2821240 h 8228193"/>
              <a:gd name="connsiteX246" fmla="*/ 21086358 w 24198144"/>
              <a:gd name="connsiteY246" fmla="*/ 2057363 h 8228193"/>
              <a:gd name="connsiteX247" fmla="*/ 20946758 w 24198144"/>
              <a:gd name="connsiteY247" fmla="*/ 1293486 h 8228193"/>
              <a:gd name="connsiteX248" fmla="*/ 20546656 w 24198144"/>
              <a:gd name="connsiteY248" fmla="*/ 646745 h 8228193"/>
              <a:gd name="connsiteX249" fmla="*/ 19949622 w 24198144"/>
              <a:gd name="connsiteY249" fmla="*/ 213092 h 8228193"/>
              <a:gd name="connsiteX250" fmla="*/ 19244148 w 24198144"/>
              <a:gd name="connsiteY250" fmla="*/ 61064 h 8228193"/>
              <a:gd name="connsiteX251" fmla="*/ 18600290 w 24198144"/>
              <a:gd name="connsiteY251" fmla="*/ 0 h 8228193"/>
              <a:gd name="connsiteX252" fmla="*/ 18852850 w 24198144"/>
              <a:gd name="connsiteY252" fmla="*/ 0 h 8228193"/>
              <a:gd name="connsiteX253" fmla="*/ 18852850 w 24198144"/>
              <a:gd name="connsiteY253" fmla="*/ 64655 h 8228193"/>
              <a:gd name="connsiteX254" fmla="*/ 18600290 w 24198144"/>
              <a:gd name="connsiteY254" fmla="*/ 64655 h 8228193"/>
              <a:gd name="connsiteX255" fmla="*/ 18092680 w 24198144"/>
              <a:gd name="connsiteY255" fmla="*/ 0 h 8228193"/>
              <a:gd name="connsiteX256" fmla="*/ 18345242 w 24198144"/>
              <a:gd name="connsiteY256" fmla="*/ 0 h 8228193"/>
              <a:gd name="connsiteX257" fmla="*/ 18345242 w 24198144"/>
              <a:gd name="connsiteY257" fmla="*/ 64655 h 8228193"/>
              <a:gd name="connsiteX258" fmla="*/ 18092680 w 24198144"/>
              <a:gd name="connsiteY258" fmla="*/ 64655 h 8228193"/>
              <a:gd name="connsiteX259" fmla="*/ 17585072 w 24198144"/>
              <a:gd name="connsiteY259" fmla="*/ 0 h 8228193"/>
              <a:gd name="connsiteX260" fmla="*/ 17838876 w 24198144"/>
              <a:gd name="connsiteY260" fmla="*/ 0 h 8228193"/>
              <a:gd name="connsiteX261" fmla="*/ 17838876 w 24198144"/>
              <a:gd name="connsiteY261" fmla="*/ 64655 h 8228193"/>
              <a:gd name="connsiteX262" fmla="*/ 17585072 w 24198144"/>
              <a:gd name="connsiteY262" fmla="*/ 64655 h 8228193"/>
              <a:gd name="connsiteX263" fmla="*/ 14231493 w 24198144"/>
              <a:gd name="connsiteY263" fmla="*/ 0 h 8228193"/>
              <a:gd name="connsiteX264" fmla="*/ 14485424 w 24198144"/>
              <a:gd name="connsiteY264" fmla="*/ 0 h 8228193"/>
              <a:gd name="connsiteX265" fmla="*/ 14485424 w 24198144"/>
              <a:gd name="connsiteY265" fmla="*/ 64655 h 8228193"/>
              <a:gd name="connsiteX266" fmla="*/ 14231493 w 24198144"/>
              <a:gd name="connsiteY266" fmla="*/ 64655 h 8228193"/>
              <a:gd name="connsiteX267" fmla="*/ 13724874 w 24198144"/>
              <a:gd name="connsiteY267" fmla="*/ 0 h 8228193"/>
              <a:gd name="connsiteX268" fmla="*/ 13977561 w 24198144"/>
              <a:gd name="connsiteY268" fmla="*/ 0 h 8228193"/>
              <a:gd name="connsiteX269" fmla="*/ 13977561 w 24198144"/>
              <a:gd name="connsiteY269" fmla="*/ 64655 h 8228193"/>
              <a:gd name="connsiteX270" fmla="*/ 13724874 w 24198144"/>
              <a:gd name="connsiteY270" fmla="*/ 64655 h 8228193"/>
              <a:gd name="connsiteX271" fmla="*/ 13217011 w 24198144"/>
              <a:gd name="connsiteY271" fmla="*/ 0 h 8228193"/>
              <a:gd name="connsiteX272" fmla="*/ 13469698 w 24198144"/>
              <a:gd name="connsiteY272" fmla="*/ 0 h 8228193"/>
              <a:gd name="connsiteX273" fmla="*/ 13469698 w 24198144"/>
              <a:gd name="connsiteY273" fmla="*/ 64655 h 8228193"/>
              <a:gd name="connsiteX274" fmla="*/ 13217011 w 24198144"/>
              <a:gd name="connsiteY274" fmla="*/ 64655 h 8228193"/>
              <a:gd name="connsiteX275" fmla="*/ 12709148 w 24198144"/>
              <a:gd name="connsiteY275" fmla="*/ 0 h 8228193"/>
              <a:gd name="connsiteX276" fmla="*/ 12963080 w 24198144"/>
              <a:gd name="connsiteY276" fmla="*/ 0 h 8228193"/>
              <a:gd name="connsiteX277" fmla="*/ 12963080 w 24198144"/>
              <a:gd name="connsiteY277" fmla="*/ 64655 h 8228193"/>
              <a:gd name="connsiteX278" fmla="*/ 12709148 w 24198144"/>
              <a:gd name="connsiteY278" fmla="*/ 64655 h 8228193"/>
              <a:gd name="connsiteX279" fmla="*/ 12202529 w 24198144"/>
              <a:gd name="connsiteY279" fmla="*/ 0 h 8228193"/>
              <a:gd name="connsiteX280" fmla="*/ 12455216 w 24198144"/>
              <a:gd name="connsiteY280" fmla="*/ 0 h 8228193"/>
              <a:gd name="connsiteX281" fmla="*/ 12455216 w 24198144"/>
              <a:gd name="connsiteY281" fmla="*/ 64655 h 8228193"/>
              <a:gd name="connsiteX282" fmla="*/ 12202529 w 24198144"/>
              <a:gd name="connsiteY282" fmla="*/ 64655 h 8228193"/>
              <a:gd name="connsiteX283" fmla="*/ 11695912 w 24198144"/>
              <a:gd name="connsiteY283" fmla="*/ 0 h 8228193"/>
              <a:gd name="connsiteX284" fmla="*/ 11948598 w 24198144"/>
              <a:gd name="connsiteY284" fmla="*/ 0 h 8228193"/>
              <a:gd name="connsiteX285" fmla="*/ 11948598 w 24198144"/>
              <a:gd name="connsiteY285" fmla="*/ 64655 h 8228193"/>
              <a:gd name="connsiteX286" fmla="*/ 11695912 w 24198144"/>
              <a:gd name="connsiteY286" fmla="*/ 64655 h 8228193"/>
              <a:gd name="connsiteX287" fmla="*/ 8380405 w 24198144"/>
              <a:gd name="connsiteY287" fmla="*/ 0 h 8228193"/>
              <a:gd name="connsiteX288" fmla="*/ 8634720 w 24198144"/>
              <a:gd name="connsiteY288" fmla="*/ 0 h 8228193"/>
              <a:gd name="connsiteX289" fmla="*/ 8634720 w 24198144"/>
              <a:gd name="connsiteY289" fmla="*/ 64655 h 8228193"/>
              <a:gd name="connsiteX290" fmla="*/ 8380405 w 24198144"/>
              <a:gd name="connsiteY290" fmla="*/ 64655 h 8228193"/>
              <a:gd name="connsiteX291" fmla="*/ 7871770 w 24198144"/>
              <a:gd name="connsiteY291" fmla="*/ 0 h 8228193"/>
              <a:gd name="connsiteX292" fmla="*/ 8127334 w 24198144"/>
              <a:gd name="connsiteY292" fmla="*/ 0 h 8228193"/>
              <a:gd name="connsiteX293" fmla="*/ 8127334 w 24198144"/>
              <a:gd name="connsiteY293" fmla="*/ 64655 h 8228193"/>
              <a:gd name="connsiteX294" fmla="*/ 7871770 w 24198144"/>
              <a:gd name="connsiteY294" fmla="*/ 64655 h 8228193"/>
              <a:gd name="connsiteX295" fmla="*/ 7364381 w 24198144"/>
              <a:gd name="connsiteY295" fmla="*/ 0 h 8228193"/>
              <a:gd name="connsiteX296" fmla="*/ 7618699 w 24198144"/>
              <a:gd name="connsiteY296" fmla="*/ 0 h 8228193"/>
              <a:gd name="connsiteX297" fmla="*/ 7618699 w 24198144"/>
              <a:gd name="connsiteY297" fmla="*/ 64655 h 8228193"/>
              <a:gd name="connsiteX298" fmla="*/ 7364381 w 24198144"/>
              <a:gd name="connsiteY298" fmla="*/ 64655 h 8228193"/>
              <a:gd name="connsiteX299" fmla="*/ 6855744 w 24198144"/>
              <a:gd name="connsiteY299" fmla="*/ 0 h 8228193"/>
              <a:gd name="connsiteX300" fmla="*/ 7110063 w 24198144"/>
              <a:gd name="connsiteY300" fmla="*/ 0 h 8228193"/>
              <a:gd name="connsiteX301" fmla="*/ 7110063 w 24198144"/>
              <a:gd name="connsiteY301" fmla="*/ 64655 h 8228193"/>
              <a:gd name="connsiteX302" fmla="*/ 6855744 w 24198144"/>
              <a:gd name="connsiteY302" fmla="*/ 64655 h 8228193"/>
              <a:gd name="connsiteX303" fmla="*/ 6347110 w 24198144"/>
              <a:gd name="connsiteY303" fmla="*/ 0 h 8228193"/>
              <a:gd name="connsiteX304" fmla="*/ 6602673 w 24198144"/>
              <a:gd name="connsiteY304" fmla="*/ 0 h 8228193"/>
              <a:gd name="connsiteX305" fmla="*/ 6602673 w 24198144"/>
              <a:gd name="connsiteY305" fmla="*/ 64655 h 8228193"/>
              <a:gd name="connsiteX306" fmla="*/ 6347110 w 24198144"/>
              <a:gd name="connsiteY306" fmla="*/ 64655 h 8228193"/>
              <a:gd name="connsiteX307" fmla="*/ 5839721 w 24198144"/>
              <a:gd name="connsiteY307" fmla="*/ 0 h 8228193"/>
              <a:gd name="connsiteX308" fmla="*/ 6094038 w 24198144"/>
              <a:gd name="connsiteY308" fmla="*/ 0 h 8228193"/>
              <a:gd name="connsiteX309" fmla="*/ 6094038 w 24198144"/>
              <a:gd name="connsiteY309" fmla="*/ 64655 h 8228193"/>
              <a:gd name="connsiteX310" fmla="*/ 5839721 w 24198144"/>
              <a:gd name="connsiteY310" fmla="*/ 64655 h 8228193"/>
              <a:gd name="connsiteX311" fmla="*/ 3047710 w 24198144"/>
              <a:gd name="connsiteY311" fmla="*/ 0 h 8228193"/>
              <a:gd name="connsiteX312" fmla="*/ 3289434 w 24198144"/>
              <a:gd name="connsiteY312" fmla="*/ 0 h 8228193"/>
              <a:gd name="connsiteX313" fmla="*/ 3289434 w 24198144"/>
              <a:gd name="connsiteY313" fmla="*/ 64655 h 8228193"/>
              <a:gd name="connsiteX314" fmla="*/ 3047710 w 24198144"/>
              <a:gd name="connsiteY314" fmla="*/ 64655 h 8228193"/>
              <a:gd name="connsiteX315" fmla="*/ 2539343 w 24198144"/>
              <a:gd name="connsiteY315" fmla="*/ 0 h 8228193"/>
              <a:gd name="connsiteX316" fmla="*/ 2794772 w 24198144"/>
              <a:gd name="connsiteY316" fmla="*/ 0 h 8228193"/>
              <a:gd name="connsiteX317" fmla="*/ 2794772 w 24198144"/>
              <a:gd name="connsiteY317" fmla="*/ 64655 h 8228193"/>
              <a:gd name="connsiteX318" fmla="*/ 2539343 w 24198144"/>
              <a:gd name="connsiteY318" fmla="*/ 64655 h 8228193"/>
              <a:gd name="connsiteX319" fmla="*/ 2032222 w 24198144"/>
              <a:gd name="connsiteY319" fmla="*/ 0 h 8228193"/>
              <a:gd name="connsiteX320" fmla="*/ 2286406 w 24198144"/>
              <a:gd name="connsiteY320" fmla="*/ 0 h 8228193"/>
              <a:gd name="connsiteX321" fmla="*/ 2286406 w 24198144"/>
              <a:gd name="connsiteY321" fmla="*/ 64655 h 8228193"/>
              <a:gd name="connsiteX322" fmla="*/ 2032222 w 24198144"/>
              <a:gd name="connsiteY322" fmla="*/ 64655 h 8228193"/>
              <a:gd name="connsiteX323" fmla="*/ 1523855 w 24198144"/>
              <a:gd name="connsiteY323" fmla="*/ 0 h 8228193"/>
              <a:gd name="connsiteX324" fmla="*/ 1778038 w 24198144"/>
              <a:gd name="connsiteY324" fmla="*/ 0 h 8228193"/>
              <a:gd name="connsiteX325" fmla="*/ 1778038 w 24198144"/>
              <a:gd name="connsiteY325" fmla="*/ 64655 h 8228193"/>
              <a:gd name="connsiteX326" fmla="*/ 1523855 w 24198144"/>
              <a:gd name="connsiteY326" fmla="*/ 64655 h 8228193"/>
              <a:gd name="connsiteX327" fmla="*/ 1015488 w 24198144"/>
              <a:gd name="connsiteY327" fmla="*/ 0 h 8228193"/>
              <a:gd name="connsiteX328" fmla="*/ 1269672 w 24198144"/>
              <a:gd name="connsiteY328" fmla="*/ 0 h 8228193"/>
              <a:gd name="connsiteX329" fmla="*/ 1269672 w 24198144"/>
              <a:gd name="connsiteY329" fmla="*/ 64655 h 8228193"/>
              <a:gd name="connsiteX330" fmla="*/ 1015488 w 24198144"/>
              <a:gd name="connsiteY330" fmla="*/ 64655 h 8228193"/>
              <a:gd name="connsiteX331" fmla="*/ 508368 w 24198144"/>
              <a:gd name="connsiteY331" fmla="*/ 0 h 8228193"/>
              <a:gd name="connsiteX332" fmla="*/ 762551 w 24198144"/>
              <a:gd name="connsiteY332" fmla="*/ 0 h 8228193"/>
              <a:gd name="connsiteX333" fmla="*/ 762551 w 24198144"/>
              <a:gd name="connsiteY333" fmla="*/ 64655 h 8228193"/>
              <a:gd name="connsiteX334" fmla="*/ 508368 w 24198144"/>
              <a:gd name="connsiteY334" fmla="*/ 64655 h 8228193"/>
              <a:gd name="connsiteX335" fmla="*/ 0 w 24198144"/>
              <a:gd name="connsiteY335" fmla="*/ 0 h 8228193"/>
              <a:gd name="connsiteX336" fmla="*/ 254184 w 24198144"/>
              <a:gd name="connsiteY336" fmla="*/ 0 h 8228193"/>
              <a:gd name="connsiteX337" fmla="*/ 254184 w 24198144"/>
              <a:gd name="connsiteY337" fmla="*/ 64655 h 8228193"/>
              <a:gd name="connsiteX338" fmla="*/ 0 w 24198144"/>
              <a:gd name="connsiteY338" fmla="*/ 64655 h 8228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</a:cxnLst>
            <a:rect l="l" t="t" r="r" b="b"/>
            <a:pathLst>
              <a:path w="24198144" h="8228193">
                <a:moveTo>
                  <a:pt x="5611814" y="8158021"/>
                </a:moveTo>
                <a:lnTo>
                  <a:pt x="5865935" y="8158021"/>
                </a:lnTo>
                <a:lnTo>
                  <a:pt x="5865935" y="8222700"/>
                </a:lnTo>
                <a:lnTo>
                  <a:pt x="5611814" y="8222700"/>
                </a:lnTo>
                <a:close/>
                <a:moveTo>
                  <a:pt x="9285671" y="8147343"/>
                </a:moveTo>
                <a:lnTo>
                  <a:pt x="9285671" y="8210481"/>
                </a:lnTo>
                <a:lnTo>
                  <a:pt x="9031504" y="8211719"/>
                </a:lnTo>
                <a:lnTo>
                  <a:pt x="9031504" y="8149819"/>
                </a:lnTo>
                <a:close/>
                <a:moveTo>
                  <a:pt x="9792756" y="8143629"/>
                </a:moveTo>
                <a:lnTo>
                  <a:pt x="9794002" y="8206767"/>
                </a:lnTo>
                <a:lnTo>
                  <a:pt x="9539836" y="8209243"/>
                </a:lnTo>
                <a:lnTo>
                  <a:pt x="9538590" y="8146105"/>
                </a:lnTo>
                <a:close/>
                <a:moveTo>
                  <a:pt x="10301089" y="8139915"/>
                </a:moveTo>
                <a:lnTo>
                  <a:pt x="10302334" y="8203053"/>
                </a:lnTo>
                <a:lnTo>
                  <a:pt x="10046922" y="8204291"/>
                </a:lnTo>
                <a:lnTo>
                  <a:pt x="10046922" y="8141153"/>
                </a:lnTo>
                <a:close/>
                <a:moveTo>
                  <a:pt x="14993353" y="8136356"/>
                </a:moveTo>
                <a:lnTo>
                  <a:pt x="14993353" y="8199494"/>
                </a:lnTo>
                <a:lnTo>
                  <a:pt x="14740624" y="8200732"/>
                </a:lnTo>
                <a:lnTo>
                  <a:pt x="14739379" y="8137594"/>
                </a:lnTo>
                <a:close/>
                <a:moveTo>
                  <a:pt x="10809420" y="8136201"/>
                </a:moveTo>
                <a:lnTo>
                  <a:pt x="10809420" y="8199339"/>
                </a:lnTo>
                <a:lnTo>
                  <a:pt x="10555254" y="8200577"/>
                </a:lnTo>
                <a:lnTo>
                  <a:pt x="10555254" y="8138677"/>
                </a:lnTo>
                <a:close/>
                <a:moveTo>
                  <a:pt x="15501301" y="8132642"/>
                </a:moveTo>
                <a:lnTo>
                  <a:pt x="15501301" y="8195780"/>
                </a:lnTo>
                <a:lnTo>
                  <a:pt x="15248572" y="8197018"/>
                </a:lnTo>
                <a:lnTo>
                  <a:pt x="15247327" y="8133880"/>
                </a:lnTo>
                <a:close/>
                <a:moveTo>
                  <a:pt x="11316507" y="8132487"/>
                </a:moveTo>
                <a:lnTo>
                  <a:pt x="11317754" y="8195625"/>
                </a:lnTo>
                <a:lnTo>
                  <a:pt x="11063587" y="8196863"/>
                </a:lnTo>
                <a:lnTo>
                  <a:pt x="11063587" y="8133725"/>
                </a:lnTo>
                <a:close/>
                <a:moveTo>
                  <a:pt x="16009249" y="8128928"/>
                </a:moveTo>
                <a:lnTo>
                  <a:pt x="16009249" y="8192066"/>
                </a:lnTo>
                <a:lnTo>
                  <a:pt x="15755275" y="8193304"/>
                </a:lnTo>
                <a:lnTo>
                  <a:pt x="15755275" y="8130166"/>
                </a:lnTo>
                <a:close/>
                <a:moveTo>
                  <a:pt x="11824839" y="8128773"/>
                </a:moveTo>
                <a:lnTo>
                  <a:pt x="11826085" y="8191911"/>
                </a:lnTo>
                <a:lnTo>
                  <a:pt x="11570673" y="8193149"/>
                </a:lnTo>
                <a:lnTo>
                  <a:pt x="11570673" y="8131249"/>
                </a:lnTo>
                <a:close/>
                <a:moveTo>
                  <a:pt x="16517198" y="8125214"/>
                </a:moveTo>
                <a:lnTo>
                  <a:pt x="16517198" y="8188352"/>
                </a:lnTo>
                <a:lnTo>
                  <a:pt x="16263224" y="8190828"/>
                </a:lnTo>
                <a:lnTo>
                  <a:pt x="16261978" y="8126452"/>
                </a:lnTo>
                <a:close/>
                <a:moveTo>
                  <a:pt x="23942924" y="8125059"/>
                </a:moveTo>
                <a:lnTo>
                  <a:pt x="24198144" y="8125059"/>
                </a:lnTo>
                <a:lnTo>
                  <a:pt x="24198144" y="8189714"/>
                </a:lnTo>
                <a:lnTo>
                  <a:pt x="23942924" y="8189714"/>
                </a:lnTo>
                <a:close/>
                <a:moveTo>
                  <a:pt x="23436220" y="8125059"/>
                </a:moveTo>
                <a:lnTo>
                  <a:pt x="23690194" y="8125059"/>
                </a:lnTo>
                <a:lnTo>
                  <a:pt x="23690194" y="8189714"/>
                </a:lnTo>
                <a:lnTo>
                  <a:pt x="23436220" y="8189714"/>
                </a:lnTo>
                <a:close/>
                <a:moveTo>
                  <a:pt x="22928272" y="8125059"/>
                </a:moveTo>
                <a:lnTo>
                  <a:pt x="23182246" y="8125059"/>
                </a:lnTo>
                <a:lnTo>
                  <a:pt x="23182246" y="8189714"/>
                </a:lnTo>
                <a:lnTo>
                  <a:pt x="22928272" y="8189714"/>
                </a:lnTo>
                <a:close/>
                <a:moveTo>
                  <a:pt x="22420322" y="8125059"/>
                </a:moveTo>
                <a:lnTo>
                  <a:pt x="22675542" y="8125059"/>
                </a:lnTo>
                <a:lnTo>
                  <a:pt x="22675542" y="8189714"/>
                </a:lnTo>
                <a:lnTo>
                  <a:pt x="22420322" y="8189714"/>
                </a:lnTo>
                <a:close/>
                <a:moveTo>
                  <a:pt x="21913618" y="8125059"/>
                </a:moveTo>
                <a:lnTo>
                  <a:pt x="22167592" y="8125059"/>
                </a:lnTo>
                <a:lnTo>
                  <a:pt x="22167592" y="8189714"/>
                </a:lnTo>
                <a:lnTo>
                  <a:pt x="21913618" y="8189714"/>
                </a:lnTo>
                <a:close/>
                <a:moveTo>
                  <a:pt x="21405670" y="8125059"/>
                </a:moveTo>
                <a:lnTo>
                  <a:pt x="21659644" y="8125059"/>
                </a:lnTo>
                <a:lnTo>
                  <a:pt x="21659644" y="8189714"/>
                </a:lnTo>
                <a:lnTo>
                  <a:pt x="21405670" y="8189714"/>
                </a:lnTo>
                <a:close/>
                <a:moveTo>
                  <a:pt x="20897720" y="8125059"/>
                </a:moveTo>
                <a:lnTo>
                  <a:pt x="21151696" y="8125059"/>
                </a:lnTo>
                <a:lnTo>
                  <a:pt x="21151696" y="8189714"/>
                </a:lnTo>
                <a:lnTo>
                  <a:pt x="20897720" y="8189714"/>
                </a:lnTo>
                <a:close/>
                <a:moveTo>
                  <a:pt x="12331925" y="8125059"/>
                </a:moveTo>
                <a:lnTo>
                  <a:pt x="12331925" y="8188197"/>
                </a:lnTo>
                <a:lnTo>
                  <a:pt x="12079005" y="8189435"/>
                </a:lnTo>
                <a:lnTo>
                  <a:pt x="12079005" y="8126297"/>
                </a:lnTo>
                <a:close/>
                <a:moveTo>
                  <a:pt x="17023900" y="8121500"/>
                </a:moveTo>
                <a:lnTo>
                  <a:pt x="17025146" y="8184638"/>
                </a:lnTo>
                <a:lnTo>
                  <a:pt x="16771172" y="8185876"/>
                </a:lnTo>
                <a:lnTo>
                  <a:pt x="16769927" y="8122738"/>
                </a:lnTo>
                <a:close/>
                <a:moveTo>
                  <a:pt x="17531848" y="8117786"/>
                </a:moveTo>
                <a:lnTo>
                  <a:pt x="17531848" y="8180924"/>
                </a:lnTo>
                <a:lnTo>
                  <a:pt x="17277874" y="8182162"/>
                </a:lnTo>
                <a:lnTo>
                  <a:pt x="17277874" y="8119024"/>
                </a:lnTo>
                <a:close/>
                <a:moveTo>
                  <a:pt x="18039796" y="8114072"/>
                </a:moveTo>
                <a:lnTo>
                  <a:pt x="18039796" y="8177210"/>
                </a:lnTo>
                <a:lnTo>
                  <a:pt x="17785824" y="8178448"/>
                </a:lnTo>
                <a:lnTo>
                  <a:pt x="17785824" y="8115310"/>
                </a:lnTo>
                <a:close/>
                <a:moveTo>
                  <a:pt x="18728390" y="4048795"/>
                </a:moveTo>
                <a:lnTo>
                  <a:pt x="18983784" y="4048795"/>
                </a:lnTo>
                <a:lnTo>
                  <a:pt x="18983784" y="4113426"/>
                </a:lnTo>
                <a:lnTo>
                  <a:pt x="18728390" y="4113426"/>
                </a:lnTo>
                <a:close/>
                <a:moveTo>
                  <a:pt x="18221342" y="4048795"/>
                </a:moveTo>
                <a:lnTo>
                  <a:pt x="18475488" y="4048795"/>
                </a:lnTo>
                <a:lnTo>
                  <a:pt x="18475488" y="4113426"/>
                </a:lnTo>
                <a:lnTo>
                  <a:pt x="18221342" y="4113426"/>
                </a:lnTo>
                <a:close/>
                <a:moveTo>
                  <a:pt x="17713048" y="4048795"/>
                </a:moveTo>
                <a:lnTo>
                  <a:pt x="17967196" y="4048795"/>
                </a:lnTo>
                <a:lnTo>
                  <a:pt x="17967196" y="4113426"/>
                </a:lnTo>
                <a:lnTo>
                  <a:pt x="17713048" y="4113426"/>
                </a:lnTo>
                <a:close/>
                <a:moveTo>
                  <a:pt x="17204754" y="4048795"/>
                </a:moveTo>
                <a:lnTo>
                  <a:pt x="17458900" y="4048795"/>
                </a:lnTo>
                <a:lnTo>
                  <a:pt x="17458900" y="4113426"/>
                </a:lnTo>
                <a:lnTo>
                  <a:pt x="17204754" y="4113426"/>
                </a:lnTo>
                <a:close/>
                <a:moveTo>
                  <a:pt x="16697706" y="4048795"/>
                </a:moveTo>
                <a:lnTo>
                  <a:pt x="16951852" y="4048795"/>
                </a:lnTo>
                <a:lnTo>
                  <a:pt x="16951852" y="4113426"/>
                </a:lnTo>
                <a:lnTo>
                  <a:pt x="16697706" y="4113426"/>
                </a:lnTo>
                <a:close/>
                <a:moveTo>
                  <a:pt x="16189413" y="4048795"/>
                </a:moveTo>
                <a:lnTo>
                  <a:pt x="16443560" y="4048795"/>
                </a:lnTo>
                <a:lnTo>
                  <a:pt x="16443560" y="4113426"/>
                </a:lnTo>
                <a:lnTo>
                  <a:pt x="16189413" y="4113426"/>
                </a:lnTo>
                <a:close/>
                <a:moveTo>
                  <a:pt x="15681119" y="4048795"/>
                </a:moveTo>
                <a:lnTo>
                  <a:pt x="15935266" y="4048795"/>
                </a:lnTo>
                <a:lnTo>
                  <a:pt x="15935266" y="4113426"/>
                </a:lnTo>
                <a:lnTo>
                  <a:pt x="15681119" y="4113426"/>
                </a:lnTo>
                <a:close/>
                <a:moveTo>
                  <a:pt x="15174071" y="4048795"/>
                </a:moveTo>
                <a:lnTo>
                  <a:pt x="15426972" y="4048795"/>
                </a:lnTo>
                <a:lnTo>
                  <a:pt x="15426972" y="4113426"/>
                </a:lnTo>
                <a:lnTo>
                  <a:pt x="15174071" y="4113426"/>
                </a:lnTo>
                <a:close/>
                <a:moveTo>
                  <a:pt x="14665777" y="4048795"/>
                </a:moveTo>
                <a:lnTo>
                  <a:pt x="14918678" y="4048795"/>
                </a:lnTo>
                <a:lnTo>
                  <a:pt x="14918678" y="4113426"/>
                </a:lnTo>
                <a:lnTo>
                  <a:pt x="14665777" y="4113426"/>
                </a:lnTo>
                <a:close/>
                <a:moveTo>
                  <a:pt x="14157483" y="4048795"/>
                </a:moveTo>
                <a:lnTo>
                  <a:pt x="14411630" y="4048795"/>
                </a:lnTo>
                <a:lnTo>
                  <a:pt x="14411630" y="4113426"/>
                </a:lnTo>
                <a:lnTo>
                  <a:pt x="14157483" y="4113426"/>
                </a:lnTo>
                <a:close/>
                <a:moveTo>
                  <a:pt x="13649190" y="4048795"/>
                </a:moveTo>
                <a:lnTo>
                  <a:pt x="13903336" y="4048795"/>
                </a:lnTo>
                <a:lnTo>
                  <a:pt x="13903336" y="4113426"/>
                </a:lnTo>
                <a:lnTo>
                  <a:pt x="13649190" y="4113426"/>
                </a:lnTo>
                <a:close/>
                <a:moveTo>
                  <a:pt x="13142142" y="4048795"/>
                </a:moveTo>
                <a:lnTo>
                  <a:pt x="13395042" y="4048795"/>
                </a:lnTo>
                <a:lnTo>
                  <a:pt x="13395042" y="4113426"/>
                </a:lnTo>
                <a:lnTo>
                  <a:pt x="13142142" y="4113426"/>
                </a:lnTo>
                <a:close/>
                <a:moveTo>
                  <a:pt x="12633848" y="4048795"/>
                </a:moveTo>
                <a:lnTo>
                  <a:pt x="12887994" y="4048795"/>
                </a:lnTo>
                <a:lnTo>
                  <a:pt x="12887994" y="4113426"/>
                </a:lnTo>
                <a:lnTo>
                  <a:pt x="12633848" y="4113426"/>
                </a:lnTo>
                <a:close/>
                <a:moveTo>
                  <a:pt x="12126800" y="4048795"/>
                </a:moveTo>
                <a:lnTo>
                  <a:pt x="12379701" y="4048795"/>
                </a:lnTo>
                <a:lnTo>
                  <a:pt x="12379701" y="4113426"/>
                </a:lnTo>
                <a:lnTo>
                  <a:pt x="12126800" y="4113426"/>
                </a:lnTo>
                <a:close/>
                <a:moveTo>
                  <a:pt x="11618506" y="4048795"/>
                </a:moveTo>
                <a:lnTo>
                  <a:pt x="11872653" y="4048795"/>
                </a:lnTo>
                <a:lnTo>
                  <a:pt x="11872653" y="4113426"/>
                </a:lnTo>
                <a:lnTo>
                  <a:pt x="11618506" y="4113426"/>
                </a:lnTo>
                <a:close/>
                <a:moveTo>
                  <a:pt x="11111458" y="4048795"/>
                </a:moveTo>
                <a:lnTo>
                  <a:pt x="11365605" y="4048795"/>
                </a:lnTo>
                <a:lnTo>
                  <a:pt x="11365605" y="4113426"/>
                </a:lnTo>
                <a:lnTo>
                  <a:pt x="11111458" y="4113426"/>
                </a:lnTo>
                <a:close/>
                <a:moveTo>
                  <a:pt x="10603164" y="4048795"/>
                </a:moveTo>
                <a:lnTo>
                  <a:pt x="10857311" y="4048795"/>
                </a:lnTo>
                <a:lnTo>
                  <a:pt x="10857311" y="4113426"/>
                </a:lnTo>
                <a:lnTo>
                  <a:pt x="10603164" y="4113426"/>
                </a:lnTo>
                <a:close/>
                <a:moveTo>
                  <a:pt x="10094871" y="4048795"/>
                </a:moveTo>
                <a:lnTo>
                  <a:pt x="10349018" y="4048795"/>
                </a:lnTo>
                <a:lnTo>
                  <a:pt x="10349018" y="4113426"/>
                </a:lnTo>
                <a:lnTo>
                  <a:pt x="10094871" y="4113426"/>
                </a:lnTo>
                <a:close/>
                <a:moveTo>
                  <a:pt x="9586576" y="4048795"/>
                </a:moveTo>
                <a:lnTo>
                  <a:pt x="9841970" y="4048795"/>
                </a:lnTo>
                <a:lnTo>
                  <a:pt x="9841970" y="4113426"/>
                </a:lnTo>
                <a:lnTo>
                  <a:pt x="9586576" y="4113426"/>
                </a:lnTo>
                <a:close/>
                <a:moveTo>
                  <a:pt x="9079529" y="4048795"/>
                </a:moveTo>
                <a:lnTo>
                  <a:pt x="9333676" y="4048795"/>
                </a:lnTo>
                <a:lnTo>
                  <a:pt x="9333676" y="4113426"/>
                </a:lnTo>
                <a:lnTo>
                  <a:pt x="9079529" y="4113426"/>
                </a:lnTo>
                <a:close/>
                <a:moveTo>
                  <a:pt x="8571235" y="4048795"/>
                </a:moveTo>
                <a:lnTo>
                  <a:pt x="8825383" y="4048795"/>
                </a:lnTo>
                <a:lnTo>
                  <a:pt x="8825383" y="4113426"/>
                </a:lnTo>
                <a:lnTo>
                  <a:pt x="8571235" y="4113426"/>
                </a:lnTo>
                <a:close/>
                <a:moveTo>
                  <a:pt x="8062944" y="4048795"/>
                </a:moveTo>
                <a:lnTo>
                  <a:pt x="8317091" y="4048795"/>
                </a:lnTo>
                <a:lnTo>
                  <a:pt x="8317091" y="4113426"/>
                </a:lnTo>
                <a:lnTo>
                  <a:pt x="8062944" y="4113426"/>
                </a:lnTo>
                <a:close/>
                <a:moveTo>
                  <a:pt x="7555896" y="4048795"/>
                </a:moveTo>
                <a:lnTo>
                  <a:pt x="7810042" y="4048795"/>
                </a:lnTo>
                <a:lnTo>
                  <a:pt x="7810042" y="4113426"/>
                </a:lnTo>
                <a:lnTo>
                  <a:pt x="7555896" y="4113426"/>
                </a:lnTo>
                <a:close/>
                <a:moveTo>
                  <a:pt x="7047602" y="4048795"/>
                </a:moveTo>
                <a:lnTo>
                  <a:pt x="7301749" y="4048795"/>
                </a:lnTo>
                <a:lnTo>
                  <a:pt x="7301749" y="4113426"/>
                </a:lnTo>
                <a:lnTo>
                  <a:pt x="7047602" y="4113426"/>
                </a:lnTo>
                <a:close/>
                <a:moveTo>
                  <a:pt x="6539309" y="4048795"/>
                </a:moveTo>
                <a:lnTo>
                  <a:pt x="6793455" y="4048795"/>
                </a:lnTo>
                <a:lnTo>
                  <a:pt x="6793455" y="4113426"/>
                </a:lnTo>
                <a:lnTo>
                  <a:pt x="6539309" y="4113426"/>
                </a:lnTo>
                <a:close/>
                <a:moveTo>
                  <a:pt x="6032260" y="4048795"/>
                </a:moveTo>
                <a:lnTo>
                  <a:pt x="6285161" y="4048795"/>
                </a:lnTo>
                <a:lnTo>
                  <a:pt x="6285161" y="4113426"/>
                </a:lnTo>
                <a:lnTo>
                  <a:pt x="6032260" y="4113426"/>
                </a:lnTo>
                <a:close/>
                <a:moveTo>
                  <a:pt x="5523967" y="4048795"/>
                </a:moveTo>
                <a:lnTo>
                  <a:pt x="5776867" y="4048795"/>
                </a:lnTo>
                <a:lnTo>
                  <a:pt x="5776867" y="4113426"/>
                </a:lnTo>
                <a:lnTo>
                  <a:pt x="5523967" y="4113426"/>
                </a:lnTo>
                <a:close/>
                <a:moveTo>
                  <a:pt x="5015673" y="4048795"/>
                </a:moveTo>
                <a:lnTo>
                  <a:pt x="5179238" y="4048795"/>
                </a:lnTo>
                <a:lnTo>
                  <a:pt x="5269820" y="4048795"/>
                </a:lnTo>
                <a:lnTo>
                  <a:pt x="5269820" y="4113426"/>
                </a:lnTo>
                <a:lnTo>
                  <a:pt x="5135565" y="4113426"/>
                </a:lnTo>
                <a:lnTo>
                  <a:pt x="4997845" y="4120701"/>
                </a:lnTo>
                <a:cubicBezTo>
                  <a:pt x="4817543" y="4139865"/>
                  <a:pt x="4641097" y="4187776"/>
                  <a:pt x="4473764" y="4264434"/>
                </a:cubicBezTo>
                <a:cubicBezTo>
                  <a:pt x="4250656" y="4366644"/>
                  <a:pt x="4047488" y="4516220"/>
                  <a:pt x="3876728" y="4704436"/>
                </a:cubicBezTo>
                <a:cubicBezTo>
                  <a:pt x="3704722" y="4892652"/>
                  <a:pt x="3568862" y="5115770"/>
                  <a:pt x="3476627" y="5361323"/>
                </a:cubicBezTo>
                <a:cubicBezTo>
                  <a:pt x="3383145" y="5608123"/>
                  <a:pt x="3337028" y="5872374"/>
                  <a:pt x="3337028" y="6137871"/>
                </a:cubicBezTo>
                <a:cubicBezTo>
                  <a:pt x="3337028" y="6403368"/>
                  <a:pt x="3383145" y="6667619"/>
                  <a:pt x="3476627" y="6914419"/>
                </a:cubicBezTo>
                <a:cubicBezTo>
                  <a:pt x="3568862" y="7159973"/>
                  <a:pt x="3704722" y="7383090"/>
                  <a:pt x="3876728" y="7571306"/>
                </a:cubicBezTo>
                <a:cubicBezTo>
                  <a:pt x="4047488" y="7759523"/>
                  <a:pt x="4250656" y="7909099"/>
                  <a:pt x="4473764" y="8011309"/>
                </a:cubicBezTo>
                <a:cubicBezTo>
                  <a:pt x="4641097" y="8087966"/>
                  <a:pt x="4817543" y="8135877"/>
                  <a:pt x="4997845" y="8155042"/>
                </a:cubicBezTo>
                <a:lnTo>
                  <a:pt x="5103570" y="8160627"/>
                </a:lnTo>
                <a:lnTo>
                  <a:pt x="5103570" y="8158021"/>
                </a:lnTo>
                <a:lnTo>
                  <a:pt x="5357691" y="8158021"/>
                </a:lnTo>
                <a:lnTo>
                  <a:pt x="5357691" y="8222700"/>
                </a:lnTo>
                <a:lnTo>
                  <a:pt x="5179238" y="8222700"/>
                </a:lnTo>
                <a:lnTo>
                  <a:pt x="5179238" y="8228193"/>
                </a:lnTo>
                <a:cubicBezTo>
                  <a:pt x="4928708" y="8228193"/>
                  <a:pt x="4681917" y="8173349"/>
                  <a:pt x="4451329" y="8068646"/>
                </a:cubicBezTo>
                <a:cubicBezTo>
                  <a:pt x="4221987" y="7963943"/>
                  <a:pt x="4011342" y="7809381"/>
                  <a:pt x="3835596" y="7616179"/>
                </a:cubicBezTo>
                <a:cubicBezTo>
                  <a:pt x="3658605" y="7421731"/>
                  <a:pt x="3519005" y="7191134"/>
                  <a:pt x="3424277" y="6938102"/>
                </a:cubicBezTo>
                <a:cubicBezTo>
                  <a:pt x="3328303" y="6683823"/>
                  <a:pt x="3279693" y="6412093"/>
                  <a:pt x="3279693" y="6137871"/>
                </a:cubicBezTo>
                <a:cubicBezTo>
                  <a:pt x="3279693" y="5863649"/>
                  <a:pt x="3328303" y="5591919"/>
                  <a:pt x="3424277" y="5337640"/>
                </a:cubicBezTo>
                <a:cubicBezTo>
                  <a:pt x="3519005" y="5084608"/>
                  <a:pt x="3658605" y="4854012"/>
                  <a:pt x="3835596" y="4659563"/>
                </a:cubicBezTo>
                <a:cubicBezTo>
                  <a:pt x="4011342" y="4466361"/>
                  <a:pt x="4221987" y="4311799"/>
                  <a:pt x="4451329" y="4207096"/>
                </a:cubicBezTo>
                <a:cubicBezTo>
                  <a:pt x="4624269" y="4128569"/>
                  <a:pt x="4806325" y="4078788"/>
                  <a:pt x="4992235" y="4058806"/>
                </a:cubicBezTo>
                <a:lnTo>
                  <a:pt x="5015673" y="4057552"/>
                </a:lnTo>
                <a:close/>
                <a:moveTo>
                  <a:pt x="19244148" y="4"/>
                </a:moveTo>
                <a:cubicBezTo>
                  <a:pt x="19493432" y="4"/>
                  <a:pt x="19740222" y="53587"/>
                  <a:pt x="19972056" y="155770"/>
                </a:cubicBezTo>
                <a:cubicBezTo>
                  <a:pt x="20201398" y="260445"/>
                  <a:pt x="20410796" y="411227"/>
                  <a:pt x="20587788" y="601884"/>
                </a:cubicBezTo>
                <a:cubicBezTo>
                  <a:pt x="20763534" y="793788"/>
                  <a:pt x="20903134" y="1020584"/>
                  <a:pt x="20999108" y="1269810"/>
                </a:cubicBezTo>
                <a:cubicBezTo>
                  <a:pt x="21093836" y="1520281"/>
                  <a:pt x="21143692" y="1786953"/>
                  <a:pt x="21143692" y="2057363"/>
                </a:cubicBezTo>
                <a:cubicBezTo>
                  <a:pt x="21143692" y="2327773"/>
                  <a:pt x="21093836" y="2594444"/>
                  <a:pt x="20999108" y="2844916"/>
                </a:cubicBezTo>
                <a:cubicBezTo>
                  <a:pt x="20903134" y="3094142"/>
                  <a:pt x="20763534" y="3320938"/>
                  <a:pt x="20587788" y="3512842"/>
                </a:cubicBezTo>
                <a:cubicBezTo>
                  <a:pt x="20410796" y="3703499"/>
                  <a:pt x="20201398" y="3854281"/>
                  <a:pt x="19972056" y="3957710"/>
                </a:cubicBezTo>
                <a:cubicBezTo>
                  <a:pt x="19798180" y="4036216"/>
                  <a:pt x="19615892" y="4084582"/>
                  <a:pt x="19430448" y="4103858"/>
                </a:cubicBezTo>
                <a:lnTo>
                  <a:pt x="19363756" y="4107301"/>
                </a:lnTo>
                <a:lnTo>
                  <a:pt x="19363756" y="4113426"/>
                </a:lnTo>
                <a:lnTo>
                  <a:pt x="19245126" y="4113426"/>
                </a:lnTo>
                <a:lnTo>
                  <a:pt x="19244148" y="4113476"/>
                </a:lnTo>
                <a:lnTo>
                  <a:pt x="19244148" y="4113426"/>
                </a:lnTo>
                <a:lnTo>
                  <a:pt x="19236684" y="4113426"/>
                </a:lnTo>
                <a:lnTo>
                  <a:pt x="19236684" y="4048795"/>
                </a:lnTo>
                <a:lnTo>
                  <a:pt x="19334386" y="4048795"/>
                </a:lnTo>
                <a:lnTo>
                  <a:pt x="19425014" y="4043907"/>
                </a:lnTo>
                <a:cubicBezTo>
                  <a:pt x="19605142" y="4024456"/>
                  <a:pt x="19782290" y="3976090"/>
                  <a:pt x="19949622" y="3900388"/>
                </a:cubicBezTo>
                <a:cubicBezTo>
                  <a:pt x="20172730" y="3800697"/>
                  <a:pt x="20375898" y="3654900"/>
                  <a:pt x="20546656" y="3469227"/>
                </a:cubicBezTo>
                <a:cubicBezTo>
                  <a:pt x="20718664" y="3283554"/>
                  <a:pt x="20854522" y="3062989"/>
                  <a:pt x="20946758" y="2821240"/>
                </a:cubicBezTo>
                <a:cubicBezTo>
                  <a:pt x="21038994" y="2579491"/>
                  <a:pt x="21086358" y="2320296"/>
                  <a:pt x="21086358" y="2057363"/>
                </a:cubicBezTo>
                <a:cubicBezTo>
                  <a:pt x="21086358" y="1795676"/>
                  <a:pt x="21038994" y="1535235"/>
                  <a:pt x="20946758" y="1293486"/>
                </a:cubicBezTo>
                <a:cubicBezTo>
                  <a:pt x="20854522" y="1051737"/>
                  <a:pt x="20718664" y="831172"/>
                  <a:pt x="20546656" y="646745"/>
                </a:cubicBezTo>
                <a:cubicBezTo>
                  <a:pt x="20375898" y="461072"/>
                  <a:pt x="20172730" y="314028"/>
                  <a:pt x="19949622" y="213092"/>
                </a:cubicBezTo>
                <a:cubicBezTo>
                  <a:pt x="19726512" y="112156"/>
                  <a:pt x="19485952" y="61064"/>
                  <a:pt x="19244148" y="61064"/>
                </a:cubicBezTo>
                <a:close/>
                <a:moveTo>
                  <a:pt x="18600290" y="0"/>
                </a:moveTo>
                <a:lnTo>
                  <a:pt x="18852850" y="0"/>
                </a:lnTo>
                <a:lnTo>
                  <a:pt x="18852850" y="64655"/>
                </a:lnTo>
                <a:lnTo>
                  <a:pt x="18600290" y="64655"/>
                </a:lnTo>
                <a:close/>
                <a:moveTo>
                  <a:pt x="18092680" y="0"/>
                </a:moveTo>
                <a:lnTo>
                  <a:pt x="18345242" y="0"/>
                </a:lnTo>
                <a:lnTo>
                  <a:pt x="18345242" y="64655"/>
                </a:lnTo>
                <a:lnTo>
                  <a:pt x="18092680" y="64655"/>
                </a:lnTo>
                <a:close/>
                <a:moveTo>
                  <a:pt x="17585072" y="0"/>
                </a:moveTo>
                <a:lnTo>
                  <a:pt x="17838876" y="0"/>
                </a:lnTo>
                <a:lnTo>
                  <a:pt x="17838876" y="64655"/>
                </a:lnTo>
                <a:lnTo>
                  <a:pt x="17585072" y="64655"/>
                </a:lnTo>
                <a:close/>
                <a:moveTo>
                  <a:pt x="14231493" y="0"/>
                </a:moveTo>
                <a:lnTo>
                  <a:pt x="14485424" y="0"/>
                </a:lnTo>
                <a:lnTo>
                  <a:pt x="14485424" y="64655"/>
                </a:lnTo>
                <a:lnTo>
                  <a:pt x="14231493" y="64655"/>
                </a:lnTo>
                <a:close/>
                <a:moveTo>
                  <a:pt x="13724874" y="0"/>
                </a:moveTo>
                <a:lnTo>
                  <a:pt x="13977561" y="0"/>
                </a:lnTo>
                <a:lnTo>
                  <a:pt x="13977561" y="64655"/>
                </a:lnTo>
                <a:lnTo>
                  <a:pt x="13724874" y="64655"/>
                </a:lnTo>
                <a:close/>
                <a:moveTo>
                  <a:pt x="13217011" y="0"/>
                </a:moveTo>
                <a:lnTo>
                  <a:pt x="13469698" y="0"/>
                </a:lnTo>
                <a:lnTo>
                  <a:pt x="13469698" y="64655"/>
                </a:lnTo>
                <a:lnTo>
                  <a:pt x="13217011" y="64655"/>
                </a:lnTo>
                <a:close/>
                <a:moveTo>
                  <a:pt x="12709148" y="0"/>
                </a:moveTo>
                <a:lnTo>
                  <a:pt x="12963080" y="0"/>
                </a:lnTo>
                <a:lnTo>
                  <a:pt x="12963080" y="64655"/>
                </a:lnTo>
                <a:lnTo>
                  <a:pt x="12709148" y="64655"/>
                </a:lnTo>
                <a:close/>
                <a:moveTo>
                  <a:pt x="12202529" y="0"/>
                </a:moveTo>
                <a:lnTo>
                  <a:pt x="12455216" y="0"/>
                </a:lnTo>
                <a:lnTo>
                  <a:pt x="12455216" y="64655"/>
                </a:lnTo>
                <a:lnTo>
                  <a:pt x="12202529" y="64655"/>
                </a:lnTo>
                <a:close/>
                <a:moveTo>
                  <a:pt x="11695912" y="0"/>
                </a:moveTo>
                <a:lnTo>
                  <a:pt x="11948598" y="0"/>
                </a:lnTo>
                <a:lnTo>
                  <a:pt x="11948598" y="64655"/>
                </a:lnTo>
                <a:lnTo>
                  <a:pt x="11695912" y="64655"/>
                </a:lnTo>
                <a:close/>
                <a:moveTo>
                  <a:pt x="8380405" y="0"/>
                </a:moveTo>
                <a:lnTo>
                  <a:pt x="8634720" y="0"/>
                </a:lnTo>
                <a:lnTo>
                  <a:pt x="8634720" y="64655"/>
                </a:lnTo>
                <a:lnTo>
                  <a:pt x="8380405" y="64655"/>
                </a:lnTo>
                <a:close/>
                <a:moveTo>
                  <a:pt x="7871770" y="0"/>
                </a:moveTo>
                <a:lnTo>
                  <a:pt x="8127334" y="0"/>
                </a:lnTo>
                <a:lnTo>
                  <a:pt x="8127334" y="64655"/>
                </a:lnTo>
                <a:lnTo>
                  <a:pt x="7871770" y="64655"/>
                </a:lnTo>
                <a:close/>
                <a:moveTo>
                  <a:pt x="7364381" y="0"/>
                </a:moveTo>
                <a:lnTo>
                  <a:pt x="7618699" y="0"/>
                </a:lnTo>
                <a:lnTo>
                  <a:pt x="7618699" y="64655"/>
                </a:lnTo>
                <a:lnTo>
                  <a:pt x="7364381" y="64655"/>
                </a:lnTo>
                <a:close/>
                <a:moveTo>
                  <a:pt x="6855744" y="0"/>
                </a:moveTo>
                <a:lnTo>
                  <a:pt x="7110063" y="0"/>
                </a:lnTo>
                <a:lnTo>
                  <a:pt x="7110063" y="64655"/>
                </a:lnTo>
                <a:lnTo>
                  <a:pt x="6855744" y="64655"/>
                </a:lnTo>
                <a:close/>
                <a:moveTo>
                  <a:pt x="6347110" y="0"/>
                </a:moveTo>
                <a:lnTo>
                  <a:pt x="6602673" y="0"/>
                </a:lnTo>
                <a:lnTo>
                  <a:pt x="6602673" y="64655"/>
                </a:lnTo>
                <a:lnTo>
                  <a:pt x="6347110" y="64655"/>
                </a:lnTo>
                <a:close/>
                <a:moveTo>
                  <a:pt x="5839721" y="0"/>
                </a:moveTo>
                <a:lnTo>
                  <a:pt x="6094038" y="0"/>
                </a:lnTo>
                <a:lnTo>
                  <a:pt x="6094038" y="64655"/>
                </a:lnTo>
                <a:lnTo>
                  <a:pt x="5839721" y="64655"/>
                </a:lnTo>
                <a:close/>
                <a:moveTo>
                  <a:pt x="3047710" y="0"/>
                </a:moveTo>
                <a:lnTo>
                  <a:pt x="3289434" y="0"/>
                </a:lnTo>
                <a:lnTo>
                  <a:pt x="3289434" y="64655"/>
                </a:lnTo>
                <a:lnTo>
                  <a:pt x="3047710" y="64655"/>
                </a:lnTo>
                <a:close/>
                <a:moveTo>
                  <a:pt x="2539343" y="0"/>
                </a:moveTo>
                <a:lnTo>
                  <a:pt x="2794772" y="0"/>
                </a:lnTo>
                <a:lnTo>
                  <a:pt x="2794772" y="64655"/>
                </a:lnTo>
                <a:lnTo>
                  <a:pt x="2539343" y="64655"/>
                </a:lnTo>
                <a:close/>
                <a:moveTo>
                  <a:pt x="2032222" y="0"/>
                </a:moveTo>
                <a:lnTo>
                  <a:pt x="2286406" y="0"/>
                </a:lnTo>
                <a:lnTo>
                  <a:pt x="2286406" y="64655"/>
                </a:lnTo>
                <a:lnTo>
                  <a:pt x="2032222" y="64655"/>
                </a:lnTo>
                <a:close/>
                <a:moveTo>
                  <a:pt x="1523855" y="0"/>
                </a:moveTo>
                <a:lnTo>
                  <a:pt x="1778038" y="0"/>
                </a:lnTo>
                <a:lnTo>
                  <a:pt x="1778038" y="64655"/>
                </a:lnTo>
                <a:lnTo>
                  <a:pt x="1523855" y="64655"/>
                </a:lnTo>
                <a:close/>
                <a:moveTo>
                  <a:pt x="1015488" y="0"/>
                </a:moveTo>
                <a:lnTo>
                  <a:pt x="1269672" y="0"/>
                </a:lnTo>
                <a:lnTo>
                  <a:pt x="1269672" y="64655"/>
                </a:lnTo>
                <a:lnTo>
                  <a:pt x="1015488" y="64655"/>
                </a:lnTo>
                <a:close/>
                <a:moveTo>
                  <a:pt x="508368" y="0"/>
                </a:moveTo>
                <a:lnTo>
                  <a:pt x="762551" y="0"/>
                </a:lnTo>
                <a:lnTo>
                  <a:pt x="762551" y="64655"/>
                </a:lnTo>
                <a:lnTo>
                  <a:pt x="508368" y="64655"/>
                </a:lnTo>
                <a:close/>
                <a:moveTo>
                  <a:pt x="0" y="0"/>
                </a:moveTo>
                <a:lnTo>
                  <a:pt x="254184" y="0"/>
                </a:lnTo>
                <a:lnTo>
                  <a:pt x="254184" y="64655"/>
                </a:lnTo>
                <a:lnTo>
                  <a:pt x="0" y="6465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pPr defTabSz="457200">
              <a:defRPr/>
            </a:pPr>
            <a:endParaRPr lang="en-US" sz="3265" kern="0">
              <a:solidFill>
                <a:srgbClr val="53565A"/>
              </a:solidFill>
              <a:cs typeface="Arial" panose="020B0604020202020204" pitchFamily="34" charset="0"/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34E9C1AF-36E1-4C34-961B-C9E4353E00CF}"/>
              </a:ext>
            </a:extLst>
          </p:cNvPr>
          <p:cNvSpPr txBox="1">
            <a:spLocks/>
          </p:cNvSpPr>
          <p:nvPr/>
        </p:nvSpPr>
        <p:spPr>
          <a:xfrm>
            <a:off x="571500" y="2249995"/>
            <a:ext cx="2944463" cy="1556260"/>
          </a:xfrm>
          <a:prstGeom prst="rect">
            <a:avLst/>
          </a:prstGeom>
        </p:spPr>
        <p:txBody>
          <a:bodyPr vert="horz" wrap="square" lIns="4572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algn="l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3565A"/>
                </a:solidFill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Define data / product specification</a:t>
            </a:r>
          </a:p>
          <a:p>
            <a:pPr marL="171450" indent="-171450" algn="l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3565A"/>
                </a:solidFill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Strategic partnership with vendors, cloud providers</a:t>
            </a:r>
          </a:p>
          <a:p>
            <a:pPr marL="171450" indent="-171450" algn="l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3565A"/>
                </a:solidFill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1- 3 use cases built into PoC</a:t>
            </a:r>
          </a:p>
          <a:p>
            <a:pPr marL="171450" indent="-171450" algn="l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3565A"/>
                </a:solidFill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Evaluate against fast fail criteria</a:t>
            </a:r>
          </a:p>
          <a:p>
            <a:pPr marL="171450" indent="-171450" algn="l">
              <a:lnSpc>
                <a:spcPts val="1750"/>
              </a:lnSpc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53565A"/>
              </a:solidFill>
              <a:latin typeface="Arial" panose="020B0604020202020204" pitchFamily="34" charset="0"/>
              <a:ea typeface="Lato Light" panose="020F0502020204030203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3600E6C-67F3-0554-7005-61A140A0DFCE}"/>
              </a:ext>
            </a:extLst>
          </p:cNvPr>
          <p:cNvSpPr txBox="1"/>
          <p:nvPr/>
        </p:nvSpPr>
        <p:spPr>
          <a:xfrm>
            <a:off x="1360382" y="1506224"/>
            <a:ext cx="1906291" cy="66172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 defTabSz="457200">
              <a:spcAft>
                <a:spcPts val="600"/>
              </a:spcAft>
            </a:pPr>
            <a:r>
              <a:rPr lang="en-US" sz="1600" b="1" dirty="0">
                <a:solidFill>
                  <a:srgbClr val="0070C0"/>
                </a:solidFill>
                <a:ea typeface="League Spartan" charset="0"/>
                <a:cs typeface="Arial" panose="020B0604020202020204" pitchFamily="34" charset="0"/>
              </a:rPr>
              <a:t>Year 0</a:t>
            </a:r>
          </a:p>
          <a:p>
            <a:pPr algn="ctr" defTabSz="457200">
              <a:spcAft>
                <a:spcPts val="600"/>
              </a:spcAft>
            </a:pPr>
            <a:r>
              <a:rPr lang="en-US" sz="1600" b="1" dirty="0">
                <a:solidFill>
                  <a:srgbClr val="0070C0"/>
                </a:solidFill>
                <a:ea typeface="League Spartan" charset="0"/>
                <a:cs typeface="Arial" panose="020B0604020202020204" pitchFamily="34" charset="0"/>
              </a:rPr>
              <a:t>Proof of Concep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E903F15-F275-9B5E-8779-A07BCE744AB8}"/>
              </a:ext>
            </a:extLst>
          </p:cNvPr>
          <p:cNvSpPr txBox="1"/>
          <p:nvPr/>
        </p:nvSpPr>
        <p:spPr>
          <a:xfrm>
            <a:off x="4696218" y="1506223"/>
            <a:ext cx="800219" cy="66172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>
            <a:defPPr>
              <a:defRPr lang="en-US"/>
            </a:defPPr>
            <a:lvl1pPr algn="ctr">
              <a:spcAft>
                <a:spcPts val="600"/>
              </a:spcAft>
              <a:defRPr sz="1600" b="1">
                <a:solidFill>
                  <a:srgbClr val="0070C0"/>
                </a:solidFill>
                <a:latin typeface="Arial Nova" panose="020B0504020202020204" pitchFamily="34" charset="0"/>
                <a:ea typeface="League Spartan" charset="0"/>
                <a:cs typeface="Poppins" pitchFamily="2" charset="77"/>
              </a:defRPr>
            </a:lvl1pPr>
          </a:lstStyle>
          <a:p>
            <a:pPr defTabSz="457200">
              <a:defRPr/>
            </a:pPr>
            <a:r>
              <a:rPr lang="en-US" kern="0" dirty="0">
                <a:latin typeface="Arial" panose="020B0604020202020204" pitchFamily="34" charset="0"/>
                <a:cs typeface="Arial" panose="020B0604020202020204" pitchFamily="34" charset="0"/>
              </a:rPr>
              <a:t>Year 1</a:t>
            </a:r>
          </a:p>
          <a:p>
            <a:pPr defTabSz="457200">
              <a:defRPr/>
            </a:pPr>
            <a:r>
              <a:rPr lang="en-US" kern="0" dirty="0">
                <a:latin typeface="Arial" panose="020B0604020202020204" pitchFamily="34" charset="0"/>
                <a:cs typeface="Arial" panose="020B0604020202020204" pitchFamily="34" charset="0"/>
              </a:rPr>
              <a:t>MVP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12FA399-2134-FC15-4EF3-6C4C291594FD}"/>
              </a:ext>
            </a:extLst>
          </p:cNvPr>
          <p:cNvSpPr txBox="1"/>
          <p:nvPr/>
        </p:nvSpPr>
        <p:spPr>
          <a:xfrm>
            <a:off x="7591840" y="1506224"/>
            <a:ext cx="800219" cy="66172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>
            <a:defPPr>
              <a:defRPr lang="en-US"/>
            </a:defPPr>
            <a:lvl1pPr algn="ctr">
              <a:spcAft>
                <a:spcPts val="600"/>
              </a:spcAft>
              <a:defRPr sz="1600" b="1">
                <a:solidFill>
                  <a:srgbClr val="0070C0"/>
                </a:solidFill>
                <a:latin typeface="Arial Nova" panose="020B0504020202020204" pitchFamily="34" charset="0"/>
                <a:ea typeface="League Spartan" charset="0"/>
                <a:cs typeface="Poppins" pitchFamily="2" charset="77"/>
              </a:defRPr>
            </a:lvl1pPr>
          </a:lstStyle>
          <a:p>
            <a:pPr defTabSz="457200">
              <a:defRPr/>
            </a:pPr>
            <a:r>
              <a:rPr lang="en-US" kern="0" dirty="0">
                <a:latin typeface="Arial" panose="020B0604020202020204" pitchFamily="34" charset="0"/>
                <a:cs typeface="Arial" panose="020B0604020202020204" pitchFamily="34" charset="0"/>
              </a:rPr>
              <a:t>Year 2</a:t>
            </a:r>
          </a:p>
          <a:p>
            <a:pPr defTabSz="457200">
              <a:defRPr/>
            </a:pPr>
            <a:r>
              <a:rPr lang="en-US" kern="0" dirty="0">
                <a:latin typeface="Arial" panose="020B0604020202020204" pitchFamily="34" charset="0"/>
                <a:cs typeface="Arial" panose="020B0604020202020204" pitchFamily="34" charset="0"/>
              </a:rPr>
              <a:t>Adop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49A97E7-C06C-968F-2533-F217CCBFB84E}"/>
              </a:ext>
            </a:extLst>
          </p:cNvPr>
          <p:cNvSpPr txBox="1"/>
          <p:nvPr/>
        </p:nvSpPr>
        <p:spPr>
          <a:xfrm>
            <a:off x="3346802" y="5601802"/>
            <a:ext cx="800219" cy="66172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>
            <a:defPPr>
              <a:defRPr lang="en-US"/>
            </a:defPPr>
            <a:lvl1pPr algn="ctr">
              <a:spcAft>
                <a:spcPts val="600"/>
              </a:spcAft>
              <a:defRPr sz="1600" b="1">
                <a:solidFill>
                  <a:srgbClr val="0070C0"/>
                </a:solidFill>
                <a:latin typeface="Arial Nova" panose="020B0504020202020204" pitchFamily="34" charset="0"/>
                <a:ea typeface="League Spartan" charset="0"/>
                <a:cs typeface="Poppins" pitchFamily="2" charset="77"/>
              </a:defRPr>
            </a:lvl1pPr>
          </a:lstStyle>
          <a:p>
            <a:pPr defTabSz="457200">
              <a:defRPr/>
            </a:pPr>
            <a:r>
              <a:rPr lang="en-US" kern="0" dirty="0">
                <a:latin typeface="Arial" panose="020B0604020202020204" pitchFamily="34" charset="0"/>
                <a:cs typeface="Arial" panose="020B0604020202020204" pitchFamily="34" charset="0"/>
              </a:rPr>
              <a:t>Year 3</a:t>
            </a:r>
          </a:p>
          <a:p>
            <a:pPr defTabSz="457200">
              <a:defRPr/>
            </a:pPr>
            <a:r>
              <a:rPr lang="en-US" kern="0" dirty="0">
                <a:latin typeface="Arial" panose="020B0604020202020204" pitchFamily="34" charset="0"/>
                <a:cs typeface="Arial" panose="020B0604020202020204" pitchFamily="34" charset="0"/>
              </a:rPr>
              <a:t>Grow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D8A0BB5-A8CC-8E99-98EB-98AF9C1065BA}"/>
              </a:ext>
            </a:extLst>
          </p:cNvPr>
          <p:cNvSpPr txBox="1"/>
          <p:nvPr/>
        </p:nvSpPr>
        <p:spPr>
          <a:xfrm>
            <a:off x="6348950" y="5601802"/>
            <a:ext cx="857927" cy="66172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>
            <a:defPPr>
              <a:defRPr lang="en-US"/>
            </a:defPPr>
            <a:lvl1pPr algn="ctr">
              <a:spcAft>
                <a:spcPts val="600"/>
              </a:spcAft>
              <a:defRPr sz="1600" b="1">
                <a:solidFill>
                  <a:srgbClr val="0070C0"/>
                </a:solidFill>
                <a:latin typeface="Arial Nova" panose="020B0504020202020204" pitchFamily="34" charset="0"/>
                <a:ea typeface="League Spartan" charset="0"/>
                <a:cs typeface="Poppins" pitchFamily="2" charset="77"/>
              </a:defRPr>
            </a:lvl1pPr>
          </a:lstStyle>
          <a:p>
            <a:pPr defTabSz="457200">
              <a:defRPr/>
            </a:pPr>
            <a:r>
              <a:rPr lang="en-US" kern="0" dirty="0">
                <a:latin typeface="Arial" panose="020B0604020202020204" pitchFamily="34" charset="0"/>
                <a:cs typeface="Arial" panose="020B0604020202020204" pitchFamily="34" charset="0"/>
              </a:rPr>
              <a:t>Year 4</a:t>
            </a:r>
          </a:p>
          <a:p>
            <a:pPr defTabSz="457200">
              <a:defRPr/>
            </a:pPr>
            <a:r>
              <a:rPr lang="en-US" kern="0" dirty="0">
                <a:latin typeface="Arial" panose="020B0604020202020204" pitchFamily="34" charset="0"/>
                <a:cs typeface="Arial" panose="020B0604020202020204" pitchFamily="34" charset="0"/>
              </a:rPr>
              <a:t>Matur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B570A94-D49B-210A-F530-D9EAF4A99BAD}"/>
              </a:ext>
            </a:extLst>
          </p:cNvPr>
          <p:cNvSpPr txBox="1"/>
          <p:nvPr/>
        </p:nvSpPr>
        <p:spPr>
          <a:xfrm>
            <a:off x="9101970" y="5601802"/>
            <a:ext cx="1208985" cy="66172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>
            <a:defPPr>
              <a:defRPr lang="en-US"/>
            </a:defPPr>
            <a:lvl1pPr algn="ctr">
              <a:spcAft>
                <a:spcPts val="600"/>
              </a:spcAft>
              <a:defRPr sz="1600" b="1">
                <a:solidFill>
                  <a:srgbClr val="0070C0"/>
                </a:solidFill>
                <a:latin typeface="Arial Nova" panose="020B0504020202020204" pitchFamily="34" charset="0"/>
                <a:ea typeface="League Spartan" charset="0"/>
                <a:cs typeface="Poppins" pitchFamily="2" charset="77"/>
              </a:defRPr>
            </a:lvl1pPr>
          </a:lstStyle>
          <a:p>
            <a:pPr defTabSz="457200">
              <a:defRPr/>
            </a:pPr>
            <a:r>
              <a:rPr lang="en-US" kern="0" dirty="0">
                <a:latin typeface="Arial" panose="020B0604020202020204" pitchFamily="34" charset="0"/>
                <a:cs typeface="Arial" panose="020B0604020202020204" pitchFamily="34" charset="0"/>
              </a:rPr>
              <a:t>Year 5</a:t>
            </a:r>
          </a:p>
          <a:p>
            <a:pPr defTabSz="457200">
              <a:defRPr/>
            </a:pPr>
            <a:r>
              <a:rPr lang="en-US" kern="0" dirty="0">
                <a:latin typeface="Arial" panose="020B0604020202020204" pitchFamily="34" charset="0"/>
                <a:cs typeface="Arial" panose="020B0604020202020204" pitchFamily="34" charset="0"/>
              </a:rPr>
              <a:t>Exceeding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B6F150DD-B9B0-0FC3-38A2-521AA12E4DE6}"/>
              </a:ext>
            </a:extLst>
          </p:cNvPr>
          <p:cNvSpPr txBox="1">
            <a:spLocks/>
          </p:cNvSpPr>
          <p:nvPr/>
        </p:nvSpPr>
        <p:spPr>
          <a:xfrm>
            <a:off x="3499773" y="2273284"/>
            <a:ext cx="3525053" cy="1325427"/>
          </a:xfrm>
          <a:prstGeom prst="rect">
            <a:avLst/>
          </a:prstGeom>
        </p:spPr>
        <p:txBody>
          <a:bodyPr vert="horz" wrap="square" lIns="4572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algn="l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3565A"/>
                </a:solidFill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Major investment in data product and platform</a:t>
            </a:r>
          </a:p>
          <a:p>
            <a:pPr marL="171450" indent="-171450" algn="l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3565A"/>
                </a:solidFill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Ramp up data strategy and MVP creation (40%)</a:t>
            </a:r>
          </a:p>
          <a:p>
            <a:pPr marL="171450" indent="-171450" algn="l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3565A"/>
                </a:solidFill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Target market and customers</a:t>
            </a:r>
          </a:p>
          <a:p>
            <a:pPr marL="171450" indent="-171450" algn="l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3565A"/>
                </a:solidFill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Channel development</a:t>
            </a:r>
          </a:p>
          <a:p>
            <a:pPr marL="171450" indent="-171450" algn="l">
              <a:lnSpc>
                <a:spcPts val="1750"/>
              </a:lnSpc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53565A"/>
              </a:solidFill>
              <a:latin typeface="Arial" panose="020B0604020202020204" pitchFamily="34" charset="0"/>
              <a:ea typeface="Lato Light" panose="020F0502020204030203" pitchFamily="34" charset="0"/>
              <a:cs typeface="Arial" panose="020B0604020202020204" pitchFamily="34" charset="0"/>
            </a:endParaRP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332550AB-00E3-BD0F-4A89-3E3FBC92DE12}"/>
              </a:ext>
            </a:extLst>
          </p:cNvPr>
          <p:cNvSpPr txBox="1">
            <a:spLocks/>
          </p:cNvSpPr>
          <p:nvPr/>
        </p:nvSpPr>
        <p:spPr>
          <a:xfrm>
            <a:off x="7126400" y="2292639"/>
            <a:ext cx="3028890" cy="1288494"/>
          </a:xfrm>
          <a:prstGeom prst="rect">
            <a:avLst/>
          </a:prstGeom>
        </p:spPr>
        <p:txBody>
          <a:bodyPr vert="horz" wrap="square" lIns="4572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algn="l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3565A"/>
                </a:solidFill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Product optimization stage</a:t>
            </a:r>
          </a:p>
          <a:p>
            <a:pPr marL="171450" indent="-171450" algn="l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3565A"/>
                </a:solidFill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80% of use cases available</a:t>
            </a:r>
          </a:p>
          <a:p>
            <a:pPr marL="171450" indent="-171450" algn="l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3565A"/>
                </a:solidFill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Revenue ramp</a:t>
            </a:r>
          </a:p>
          <a:p>
            <a:pPr marL="171450" indent="-171450" algn="l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3565A"/>
                </a:solidFill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Major push on expanded targeting, segmentation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CA785B3B-34A0-DF27-BE1A-3993C0FF6F75}"/>
              </a:ext>
            </a:extLst>
          </p:cNvPr>
          <p:cNvSpPr txBox="1">
            <a:spLocks/>
          </p:cNvSpPr>
          <p:nvPr/>
        </p:nvSpPr>
        <p:spPr>
          <a:xfrm>
            <a:off x="2641647" y="4255511"/>
            <a:ext cx="2804560" cy="1288494"/>
          </a:xfrm>
          <a:prstGeom prst="rect">
            <a:avLst/>
          </a:prstGeom>
        </p:spPr>
        <p:txBody>
          <a:bodyPr vert="horz" wrap="square" lIns="4572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algn="l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3565A"/>
                </a:solidFill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Product Stabilization Stage</a:t>
            </a:r>
          </a:p>
          <a:p>
            <a:pPr marL="171450" indent="-171450" algn="l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3565A"/>
                </a:solidFill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Develop monitoring / analytical functions</a:t>
            </a:r>
          </a:p>
          <a:p>
            <a:pPr marL="171450" indent="-171450" algn="l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3565A"/>
                </a:solidFill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Revenue ramp to 60%+ of target</a:t>
            </a:r>
          </a:p>
          <a:p>
            <a:pPr marL="171450" indent="-171450" algn="l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3565A"/>
                </a:solidFill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Full integration of edge compute 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66F238BA-78DE-D8EA-0726-111551C3CFEB}"/>
              </a:ext>
            </a:extLst>
          </p:cNvPr>
          <p:cNvSpPr txBox="1">
            <a:spLocks/>
          </p:cNvSpPr>
          <p:nvPr/>
        </p:nvSpPr>
        <p:spPr>
          <a:xfrm>
            <a:off x="5537475" y="4402463"/>
            <a:ext cx="2705753" cy="1325106"/>
          </a:xfrm>
          <a:prstGeom prst="rect">
            <a:avLst/>
          </a:prstGeom>
        </p:spPr>
        <p:txBody>
          <a:bodyPr vert="horz" wrap="square" lIns="4572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algn="l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3565A"/>
                </a:solidFill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Product operating at full function</a:t>
            </a:r>
          </a:p>
          <a:p>
            <a:pPr marL="171450" indent="-171450" algn="l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3565A"/>
                </a:solidFill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95% of workflows/portfolio available</a:t>
            </a:r>
          </a:p>
          <a:p>
            <a:pPr marL="171450" indent="-171450" algn="l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3565A"/>
                </a:solidFill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Usage and adoption optimized</a:t>
            </a:r>
          </a:p>
          <a:p>
            <a:pPr marL="171450" indent="-171450" algn="l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3565A"/>
                </a:solidFill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Revenue ramp to 90%+ of target</a:t>
            </a:r>
          </a:p>
          <a:p>
            <a:pPr marL="171450" indent="-171450" algn="l">
              <a:lnSpc>
                <a:spcPts val="1750"/>
              </a:lnSpc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53565A"/>
              </a:solidFill>
              <a:latin typeface="Arial" panose="020B0604020202020204" pitchFamily="34" charset="0"/>
              <a:ea typeface="Lato Light" panose="020F0502020204030203" pitchFamily="34" charset="0"/>
              <a:cs typeface="Arial" panose="020B0604020202020204" pitchFamily="34" charset="0"/>
            </a:endParaRP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D586CAEA-EC66-7E58-980A-F1EC686CB8E4}"/>
              </a:ext>
            </a:extLst>
          </p:cNvPr>
          <p:cNvSpPr txBox="1">
            <a:spLocks/>
          </p:cNvSpPr>
          <p:nvPr/>
        </p:nvSpPr>
        <p:spPr>
          <a:xfrm>
            <a:off x="8556516" y="4496718"/>
            <a:ext cx="3230100" cy="752963"/>
          </a:xfrm>
          <a:prstGeom prst="rect">
            <a:avLst/>
          </a:prstGeom>
        </p:spPr>
        <p:txBody>
          <a:bodyPr vert="horz" wrap="square" lIns="4572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algn="l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3565A"/>
                </a:solidFill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Ongoing run state</a:t>
            </a:r>
          </a:p>
          <a:p>
            <a:pPr marL="171450" indent="-171450" algn="l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53565A"/>
                </a:solidFill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ML &amp; AI process fueling new cases and product feature creation</a:t>
            </a:r>
          </a:p>
        </p:txBody>
      </p:sp>
    </p:spTree>
    <p:extLst>
      <p:ext uri="{BB962C8B-B14F-4D97-AF65-F5344CB8AC3E}">
        <p14:creationId xmlns:p14="http://schemas.microsoft.com/office/powerpoint/2010/main" val="21767809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ySniXFyApYQmGFOHk.P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AGILENT 16-9">
  <a:themeElements>
    <a:clrScheme name="AGILENT COLORS">
      <a:dk1>
        <a:srgbClr val="53565A"/>
      </a:dk1>
      <a:lt1>
        <a:srgbClr val="FFFFFF"/>
      </a:lt1>
      <a:dk2>
        <a:srgbClr val="000000"/>
      </a:dk2>
      <a:lt2>
        <a:srgbClr val="FFFFFF"/>
      </a:lt2>
      <a:accent1>
        <a:srgbClr val="0085D5"/>
      </a:accent1>
      <a:accent2>
        <a:srgbClr val="F2A900"/>
      </a:accent2>
      <a:accent3>
        <a:srgbClr val="84BD00"/>
      </a:accent3>
      <a:accent4>
        <a:srgbClr val="00A9E0"/>
      </a:accent4>
      <a:accent5>
        <a:srgbClr val="00426A"/>
      </a:accent5>
      <a:accent6>
        <a:srgbClr val="D6001C"/>
      </a:accent6>
      <a:hlink>
        <a:srgbClr val="0085D5"/>
      </a:hlink>
      <a:folHlink>
        <a:srgbClr val="80276C"/>
      </a:folHlink>
    </a:clrScheme>
    <a:fontScheme name="AGILENT PPT &amp; OUTLOO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gilent 16-9" id="{3CB74861-FB5A-44F0-BCDF-2AC764DA9061}" vid="{67474137-489F-42F2-AD27-BD96EF6F8569}"/>
    </a:ext>
  </a:extLst>
</a:theme>
</file>

<file path=ppt/theme/theme3.xml><?xml version="1.0" encoding="utf-8"?>
<a:theme xmlns:a="http://schemas.openxmlformats.org/drawingml/2006/main" name="1_Office Theme">
  <a:themeElements>
    <a:clrScheme name="HireRigh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1010"/>
      </a:accent1>
      <a:accent2>
        <a:srgbClr val="757575"/>
      </a:accent2>
      <a:accent3>
        <a:srgbClr val="1F74DB"/>
      </a:accent3>
      <a:accent4>
        <a:srgbClr val="C9D716"/>
      </a:accent4>
      <a:accent5>
        <a:srgbClr val="25BAA7"/>
      </a:accent5>
      <a:accent6>
        <a:srgbClr val="FFC658"/>
      </a:accent6>
      <a:hlink>
        <a:srgbClr val="214069"/>
      </a:hlink>
      <a:folHlink>
        <a:srgbClr val="EA1010"/>
      </a:folHlink>
    </a:clrScheme>
    <a:fontScheme name="HireRigh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77998</TotalTime>
  <Words>157</Words>
  <Application>Microsoft Office PowerPoint</Application>
  <PresentationFormat>Widescreen</PresentationFormat>
  <Paragraphs>37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6" baseType="lpstr">
      <vt:lpstr>Arial</vt:lpstr>
      <vt:lpstr>Calibri</vt:lpstr>
      <vt:lpstr>Calibri Light</vt:lpstr>
      <vt:lpstr>Lucida Grande</vt:lpstr>
      <vt:lpstr>Roboto</vt:lpstr>
      <vt:lpstr>Roboto Light</vt:lpstr>
      <vt:lpstr>Söhne</vt:lpstr>
      <vt:lpstr>System Font Regular</vt:lpstr>
      <vt:lpstr>Verdana</vt:lpstr>
      <vt:lpstr>Wingdings</vt:lpstr>
      <vt:lpstr>Custom Design</vt:lpstr>
      <vt:lpstr>1_AGILENT 16-9</vt:lpstr>
      <vt:lpstr>1_Office Theme</vt:lpstr>
      <vt:lpstr>think-cell Slide</vt:lpstr>
      <vt:lpstr>Roadmap  to   Success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Patrick Jacolenne</dc:creator>
  <cp:keywords/>
  <dc:description/>
  <cp:lastModifiedBy>Patrick Jacolenne</cp:lastModifiedBy>
  <cp:revision>1545</cp:revision>
  <cp:lastPrinted>2022-01-25T19:11:12Z</cp:lastPrinted>
  <dcterms:created xsi:type="dcterms:W3CDTF">2013-04-15T13:08:21Z</dcterms:created>
  <dcterms:modified xsi:type="dcterms:W3CDTF">2023-08-22T06:55:01Z</dcterms:modified>
  <cp:category/>
</cp:coreProperties>
</file>